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mp" ContentType="image/p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9"/>
  </p:notesMasterIdLst>
  <p:handoutMasterIdLst>
    <p:handoutMasterId r:id="rId10"/>
  </p:handoutMasterIdLst>
  <p:sldIdLst>
    <p:sldId id="378" r:id="rId2"/>
    <p:sldId id="282" r:id="rId3"/>
    <p:sldId id="299" r:id="rId4"/>
    <p:sldId id="390" r:id="rId5"/>
    <p:sldId id="384" r:id="rId6"/>
    <p:sldId id="392" r:id="rId7"/>
    <p:sldId id="395" r:id="rId8"/>
  </p:sldIdLst>
  <p:sldSz cx="9144000" cy="6858000" type="screen4x3"/>
  <p:notesSz cx="9926638" cy="6797675"/>
  <p:custDataLst>
    <p:tags r:id="rId11"/>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020">
          <p15:clr>
            <a:srgbClr val="A4A3A4"/>
          </p15:clr>
        </p15:guide>
        <p15:guide id="2" pos="5511">
          <p15:clr>
            <a:srgbClr val="A4A3A4"/>
          </p15:clr>
        </p15:guide>
        <p15:guide id="3" pos="249">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EBEBE"/>
    <a:srgbClr val="00FFFF"/>
    <a:srgbClr val="0000FF"/>
    <a:srgbClr val="385923"/>
    <a:srgbClr val="429869"/>
    <a:srgbClr val="3366FF"/>
    <a:srgbClr val="99FF99"/>
    <a:srgbClr val="FF66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淡色スタイル 2 - アクセント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3C2FFA5D-87B4-456A-9821-1D502468CF0F}" styleName="テーマ スタイル 1 - アクセント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B301B821-A1FF-4177-AEE7-76D212191A09}" styleName="中間スタイル 1 - アクセント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16DA210-FB5B-4158-B5E0-FEB733F419BA}" styleName="スタイル (淡色)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FD0F851-EC5A-4D38-B0AD-8093EC10F338}" styleName="淡色スタイル 1 - アクセント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BC89EF96-8CEA-46FF-86C4-4CE0E7609802}" styleName="淡色スタイル 3 - アクセント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D113A9D2-9D6B-4929-AA2D-F23B5EE8CBE7}" styleName="テーマ スタイル 2 - アクセント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173" autoAdjust="0"/>
    <p:restoredTop sz="96502" autoAdjust="0"/>
  </p:normalViewPr>
  <p:slideViewPr>
    <p:cSldViewPr snapToGrid="0" showGuides="1">
      <p:cViewPr varScale="1">
        <p:scale>
          <a:sx n="110" d="100"/>
          <a:sy n="110" d="100"/>
        </p:scale>
        <p:origin x="1842" y="114"/>
      </p:cViewPr>
      <p:guideLst>
        <p:guide orient="horz" pos="4020"/>
        <p:guide pos="5511"/>
        <p:guide pos="249"/>
      </p:guideLst>
    </p:cSldViewPr>
  </p:slideViewPr>
  <p:notesTextViewPr>
    <p:cViewPr>
      <p:scale>
        <a:sx n="1" d="1"/>
        <a:sy n="1" d="1"/>
      </p:scale>
      <p:origin x="0" y="0"/>
    </p:cViewPr>
  </p:notesTextViewPr>
  <p:sorterViewPr>
    <p:cViewPr>
      <p:scale>
        <a:sx n="150" d="100"/>
        <a:sy n="150" d="100"/>
      </p:scale>
      <p:origin x="0" y="-7901"/>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3" y="1"/>
            <a:ext cx="4301234" cy="340916"/>
          </a:xfrm>
          <a:prstGeom prst="rect">
            <a:avLst/>
          </a:prstGeom>
        </p:spPr>
        <p:txBody>
          <a:bodyPr vert="horz" lIns="91297" tIns="45648" rIns="91297" bIns="45648"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5623092" y="1"/>
            <a:ext cx="4301234" cy="340916"/>
          </a:xfrm>
          <a:prstGeom prst="rect">
            <a:avLst/>
          </a:prstGeom>
        </p:spPr>
        <p:txBody>
          <a:bodyPr vert="horz" lIns="91297" tIns="45648" rIns="91297" bIns="45648" rtlCol="0"/>
          <a:lstStyle>
            <a:lvl1pPr algn="r">
              <a:defRPr sz="1200"/>
            </a:lvl1pPr>
          </a:lstStyle>
          <a:p>
            <a:fld id="{32C49573-88C6-445F-9D74-F96BC1C1BDA3}" type="datetimeFigureOut">
              <a:rPr kumimoji="1" lang="ja-JP" altLang="en-US" smtClean="0"/>
              <a:t>2025/10/9</a:t>
            </a:fld>
            <a:endParaRPr kumimoji="1" lang="ja-JP" altLang="en-US"/>
          </a:p>
        </p:txBody>
      </p:sp>
      <p:sp>
        <p:nvSpPr>
          <p:cNvPr id="4" name="フッター プレースホルダー 3"/>
          <p:cNvSpPr>
            <a:spLocks noGrp="1"/>
          </p:cNvSpPr>
          <p:nvPr>
            <p:ph type="ftr" sz="quarter" idx="2"/>
          </p:nvPr>
        </p:nvSpPr>
        <p:spPr>
          <a:xfrm>
            <a:off x="3" y="6456761"/>
            <a:ext cx="4301234" cy="340916"/>
          </a:xfrm>
          <a:prstGeom prst="rect">
            <a:avLst/>
          </a:prstGeom>
        </p:spPr>
        <p:txBody>
          <a:bodyPr vert="horz" lIns="91297" tIns="45648" rIns="91297" bIns="45648"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5623092" y="6456761"/>
            <a:ext cx="4301234" cy="340916"/>
          </a:xfrm>
          <a:prstGeom prst="rect">
            <a:avLst/>
          </a:prstGeom>
        </p:spPr>
        <p:txBody>
          <a:bodyPr vert="horz" lIns="91297" tIns="45648" rIns="91297" bIns="45648" rtlCol="0" anchor="b"/>
          <a:lstStyle>
            <a:lvl1pPr algn="r">
              <a:defRPr sz="1200"/>
            </a:lvl1pPr>
          </a:lstStyle>
          <a:p>
            <a:fld id="{1F08E1EB-90F6-41FE-B8CA-B8E648AB5C56}" type="slidenum">
              <a:rPr kumimoji="1" lang="ja-JP" altLang="en-US" smtClean="0"/>
              <a:t>‹#›</a:t>
            </a:fld>
            <a:endParaRPr kumimoji="1" lang="ja-JP" altLang="en-US"/>
          </a:p>
        </p:txBody>
      </p:sp>
    </p:spTree>
    <p:extLst>
      <p:ext uri="{BB962C8B-B14F-4D97-AF65-F5344CB8AC3E}">
        <p14:creationId xmlns:p14="http://schemas.microsoft.com/office/powerpoint/2010/main" val="1266075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7" y="5"/>
            <a:ext cx="4301544" cy="339884"/>
          </a:xfrm>
          <a:prstGeom prst="rect">
            <a:avLst/>
          </a:prstGeom>
        </p:spPr>
        <p:txBody>
          <a:bodyPr vert="horz" lIns="91216" tIns="45607" rIns="91216" bIns="45607" rtlCol="0"/>
          <a:lstStyle>
            <a:lvl1pPr algn="l">
              <a:defRPr sz="1000"/>
            </a:lvl1pPr>
          </a:lstStyle>
          <a:p>
            <a:endParaRPr kumimoji="1" lang="en-GB"/>
          </a:p>
        </p:txBody>
      </p:sp>
      <p:sp>
        <p:nvSpPr>
          <p:cNvPr id="3" name="日付プレースホルダー 2"/>
          <p:cNvSpPr>
            <a:spLocks noGrp="1"/>
          </p:cNvSpPr>
          <p:nvPr>
            <p:ph type="dt" idx="1"/>
          </p:nvPr>
        </p:nvSpPr>
        <p:spPr>
          <a:xfrm>
            <a:off x="5622807" y="5"/>
            <a:ext cx="4301544" cy="339884"/>
          </a:xfrm>
          <a:prstGeom prst="rect">
            <a:avLst/>
          </a:prstGeom>
        </p:spPr>
        <p:txBody>
          <a:bodyPr vert="horz" lIns="91216" tIns="45607" rIns="91216" bIns="45607" rtlCol="0"/>
          <a:lstStyle>
            <a:lvl1pPr algn="r">
              <a:defRPr sz="1000"/>
            </a:lvl1pPr>
          </a:lstStyle>
          <a:p>
            <a:fld id="{7BDC74F6-11DB-4BAE-AF02-1135DF5BD558}" type="datetimeFigureOut">
              <a:rPr kumimoji="1" lang="en-GB" smtClean="0"/>
              <a:t>09/10/2025</a:t>
            </a:fld>
            <a:endParaRPr kumimoji="1" lang="en-GB"/>
          </a:p>
        </p:txBody>
      </p:sp>
      <p:sp>
        <p:nvSpPr>
          <p:cNvPr id="4" name="スライド イメージ プレースホルダー 3"/>
          <p:cNvSpPr>
            <a:spLocks noGrp="1" noRot="1" noChangeAspect="1"/>
          </p:cNvSpPr>
          <p:nvPr>
            <p:ph type="sldImg" idx="2"/>
          </p:nvPr>
        </p:nvSpPr>
        <p:spPr>
          <a:xfrm>
            <a:off x="3262313" y="511175"/>
            <a:ext cx="3402012" cy="2551113"/>
          </a:xfrm>
          <a:prstGeom prst="rect">
            <a:avLst/>
          </a:prstGeom>
          <a:noFill/>
          <a:ln w="12700">
            <a:solidFill>
              <a:prstClr val="black"/>
            </a:solidFill>
          </a:ln>
        </p:spPr>
        <p:txBody>
          <a:bodyPr vert="horz" lIns="91216" tIns="45607" rIns="91216" bIns="45607" rtlCol="0" anchor="ctr"/>
          <a:lstStyle/>
          <a:p>
            <a:endParaRPr lang="en-GB"/>
          </a:p>
        </p:txBody>
      </p:sp>
      <p:sp>
        <p:nvSpPr>
          <p:cNvPr id="5" name="ノート プレースホルダー 4"/>
          <p:cNvSpPr>
            <a:spLocks noGrp="1"/>
          </p:cNvSpPr>
          <p:nvPr>
            <p:ph type="body" sz="quarter" idx="3"/>
          </p:nvPr>
        </p:nvSpPr>
        <p:spPr>
          <a:xfrm>
            <a:off x="992671" y="3228900"/>
            <a:ext cx="7941309" cy="3058955"/>
          </a:xfrm>
          <a:prstGeom prst="rect">
            <a:avLst/>
          </a:prstGeom>
        </p:spPr>
        <p:txBody>
          <a:bodyPr vert="horz" lIns="91216" tIns="45607" rIns="91216" bIns="45607"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en-GB"/>
          </a:p>
        </p:txBody>
      </p:sp>
      <p:sp>
        <p:nvSpPr>
          <p:cNvPr id="6" name="フッター プレースホルダー 5"/>
          <p:cNvSpPr>
            <a:spLocks noGrp="1"/>
          </p:cNvSpPr>
          <p:nvPr>
            <p:ph type="ftr" sz="quarter" idx="4"/>
          </p:nvPr>
        </p:nvSpPr>
        <p:spPr>
          <a:xfrm>
            <a:off x="7" y="6456618"/>
            <a:ext cx="4301544" cy="339884"/>
          </a:xfrm>
          <a:prstGeom prst="rect">
            <a:avLst/>
          </a:prstGeom>
        </p:spPr>
        <p:txBody>
          <a:bodyPr vert="horz" lIns="91216" tIns="45607" rIns="91216" bIns="45607" rtlCol="0" anchor="b"/>
          <a:lstStyle>
            <a:lvl1pPr algn="l">
              <a:defRPr sz="1000"/>
            </a:lvl1pPr>
          </a:lstStyle>
          <a:p>
            <a:endParaRPr kumimoji="1" lang="en-GB"/>
          </a:p>
        </p:txBody>
      </p:sp>
      <p:sp>
        <p:nvSpPr>
          <p:cNvPr id="7" name="スライド番号プレースホルダー 6"/>
          <p:cNvSpPr>
            <a:spLocks noGrp="1"/>
          </p:cNvSpPr>
          <p:nvPr>
            <p:ph type="sldNum" sz="quarter" idx="5"/>
          </p:nvPr>
        </p:nvSpPr>
        <p:spPr>
          <a:xfrm>
            <a:off x="5622807" y="6456618"/>
            <a:ext cx="4301544" cy="339884"/>
          </a:xfrm>
          <a:prstGeom prst="rect">
            <a:avLst/>
          </a:prstGeom>
        </p:spPr>
        <p:txBody>
          <a:bodyPr vert="horz" lIns="91216" tIns="45607" rIns="91216" bIns="45607" rtlCol="0" anchor="b"/>
          <a:lstStyle>
            <a:lvl1pPr algn="r">
              <a:defRPr sz="1000"/>
            </a:lvl1pPr>
          </a:lstStyle>
          <a:p>
            <a:fld id="{F622A947-89D2-4612-9737-85678D864C91}" type="slidenum">
              <a:rPr kumimoji="1" lang="en-GB" smtClean="0"/>
              <a:t>‹#›</a:t>
            </a:fld>
            <a:endParaRPr kumimoji="1" lang="en-GB"/>
          </a:p>
        </p:txBody>
      </p:sp>
    </p:spTree>
    <p:extLst>
      <p:ext uri="{BB962C8B-B14F-4D97-AF65-F5344CB8AC3E}">
        <p14:creationId xmlns:p14="http://schemas.microsoft.com/office/powerpoint/2010/main" val="995156594"/>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GB" dirty="0"/>
          </a:p>
        </p:txBody>
      </p:sp>
      <p:sp>
        <p:nvSpPr>
          <p:cNvPr id="4" name="スライド番号プレースホルダー 3"/>
          <p:cNvSpPr>
            <a:spLocks noGrp="1"/>
          </p:cNvSpPr>
          <p:nvPr>
            <p:ph type="sldNum" sz="quarter" idx="10"/>
          </p:nvPr>
        </p:nvSpPr>
        <p:spPr/>
        <p:txBody>
          <a:bodyPr/>
          <a:lstStyle/>
          <a:p>
            <a:fld id="{F622A947-89D2-4612-9737-85678D864C91}" type="slidenum">
              <a:rPr kumimoji="1" lang="en-GB" smtClean="0"/>
              <a:t>2</a:t>
            </a:fld>
            <a:endParaRPr kumimoji="1" lang="en-GB"/>
          </a:p>
        </p:txBody>
      </p:sp>
    </p:spTree>
    <p:extLst>
      <p:ext uri="{BB962C8B-B14F-4D97-AF65-F5344CB8AC3E}">
        <p14:creationId xmlns:p14="http://schemas.microsoft.com/office/powerpoint/2010/main" val="18668107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GB" dirty="0"/>
          </a:p>
        </p:txBody>
      </p:sp>
      <p:sp>
        <p:nvSpPr>
          <p:cNvPr id="4" name="スライド番号プレースホルダー 3"/>
          <p:cNvSpPr>
            <a:spLocks noGrp="1"/>
          </p:cNvSpPr>
          <p:nvPr>
            <p:ph type="sldNum" sz="quarter" idx="10"/>
          </p:nvPr>
        </p:nvSpPr>
        <p:spPr/>
        <p:txBody>
          <a:bodyPr/>
          <a:lstStyle/>
          <a:p>
            <a:fld id="{F622A947-89D2-4612-9737-85678D864C91}" type="slidenum">
              <a:rPr kumimoji="1" lang="en-GB" smtClean="0"/>
              <a:t>3</a:t>
            </a:fld>
            <a:endParaRPr kumimoji="1" lang="en-GB"/>
          </a:p>
        </p:txBody>
      </p:sp>
    </p:spTree>
    <p:extLst>
      <p:ext uri="{BB962C8B-B14F-4D97-AF65-F5344CB8AC3E}">
        <p14:creationId xmlns:p14="http://schemas.microsoft.com/office/powerpoint/2010/main" val="18668107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GB" dirty="0"/>
          </a:p>
        </p:txBody>
      </p:sp>
      <p:sp>
        <p:nvSpPr>
          <p:cNvPr id="4" name="スライド番号プレースホルダー 3"/>
          <p:cNvSpPr>
            <a:spLocks noGrp="1"/>
          </p:cNvSpPr>
          <p:nvPr>
            <p:ph type="sldNum" sz="quarter" idx="10"/>
          </p:nvPr>
        </p:nvSpPr>
        <p:spPr/>
        <p:txBody>
          <a:bodyPr/>
          <a:lstStyle/>
          <a:p>
            <a:fld id="{F622A947-89D2-4612-9737-85678D864C91}" type="slidenum">
              <a:rPr kumimoji="1" lang="en-GB" smtClean="0"/>
              <a:t>4</a:t>
            </a:fld>
            <a:endParaRPr kumimoji="1" lang="en-GB"/>
          </a:p>
        </p:txBody>
      </p:sp>
    </p:spTree>
    <p:extLst>
      <p:ext uri="{BB962C8B-B14F-4D97-AF65-F5344CB8AC3E}">
        <p14:creationId xmlns:p14="http://schemas.microsoft.com/office/powerpoint/2010/main" val="26326066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GB" dirty="0"/>
          </a:p>
        </p:txBody>
      </p:sp>
      <p:sp>
        <p:nvSpPr>
          <p:cNvPr id="4" name="スライド番号プレースホルダー 3"/>
          <p:cNvSpPr>
            <a:spLocks noGrp="1"/>
          </p:cNvSpPr>
          <p:nvPr>
            <p:ph type="sldNum" sz="quarter" idx="10"/>
          </p:nvPr>
        </p:nvSpPr>
        <p:spPr/>
        <p:txBody>
          <a:bodyPr/>
          <a:lstStyle/>
          <a:p>
            <a:fld id="{F622A947-89D2-4612-9737-85678D864C91}" type="slidenum">
              <a:rPr kumimoji="1" lang="en-GB" smtClean="0"/>
              <a:t>5</a:t>
            </a:fld>
            <a:endParaRPr kumimoji="1" lang="en-GB" dirty="0"/>
          </a:p>
        </p:txBody>
      </p:sp>
    </p:spTree>
    <p:extLst>
      <p:ext uri="{BB962C8B-B14F-4D97-AF65-F5344CB8AC3E}">
        <p14:creationId xmlns:p14="http://schemas.microsoft.com/office/powerpoint/2010/main" val="14531797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GB" dirty="0"/>
          </a:p>
        </p:txBody>
      </p:sp>
      <p:sp>
        <p:nvSpPr>
          <p:cNvPr id="4" name="スライド番号プレースホルダー 3"/>
          <p:cNvSpPr>
            <a:spLocks noGrp="1"/>
          </p:cNvSpPr>
          <p:nvPr>
            <p:ph type="sldNum" sz="quarter" idx="10"/>
          </p:nvPr>
        </p:nvSpPr>
        <p:spPr/>
        <p:txBody>
          <a:bodyPr/>
          <a:lstStyle/>
          <a:p>
            <a:fld id="{F622A947-89D2-4612-9737-85678D864C91}" type="slidenum">
              <a:rPr kumimoji="1" lang="en-GB" smtClean="0"/>
              <a:t>6</a:t>
            </a:fld>
            <a:endParaRPr kumimoji="1" lang="en-GB" dirty="0"/>
          </a:p>
        </p:txBody>
      </p:sp>
    </p:spTree>
    <p:extLst>
      <p:ext uri="{BB962C8B-B14F-4D97-AF65-F5344CB8AC3E}">
        <p14:creationId xmlns:p14="http://schemas.microsoft.com/office/powerpoint/2010/main" val="4484733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GB" dirty="0"/>
          </a:p>
        </p:txBody>
      </p:sp>
      <p:sp>
        <p:nvSpPr>
          <p:cNvPr id="4" name="スライド番号プレースホルダー 3"/>
          <p:cNvSpPr>
            <a:spLocks noGrp="1"/>
          </p:cNvSpPr>
          <p:nvPr>
            <p:ph type="sldNum" sz="quarter" idx="10"/>
          </p:nvPr>
        </p:nvSpPr>
        <p:spPr/>
        <p:txBody>
          <a:bodyPr/>
          <a:lstStyle/>
          <a:p>
            <a:fld id="{F622A947-89D2-4612-9737-85678D864C91}" type="slidenum">
              <a:rPr kumimoji="1" lang="en-GB" smtClean="0"/>
              <a:t>7</a:t>
            </a:fld>
            <a:endParaRPr kumimoji="1" lang="en-GB" dirty="0"/>
          </a:p>
        </p:txBody>
      </p:sp>
    </p:spTree>
    <p:extLst>
      <p:ext uri="{BB962C8B-B14F-4D97-AF65-F5344CB8AC3E}">
        <p14:creationId xmlns:p14="http://schemas.microsoft.com/office/powerpoint/2010/main" val="40593256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5"/>
            <a:ext cx="7772400" cy="1470025"/>
          </a:xfrm>
        </p:spPr>
        <p:txBody>
          <a:bodyPr/>
          <a:lstStyle/>
          <a:p>
            <a:r>
              <a:rPr kumimoji="1" lang="ja-JP" altLang="en-US"/>
              <a:t>マスター タイトルの書式設定</a:t>
            </a:r>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B539B046-6B11-4488-91B5-E36C2CCD21CC}" type="datetime1">
              <a:rPr kumimoji="1" lang="ja-JP" altLang="en-US" smtClean="0"/>
              <a:t>2025/10/9</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a:xfrm>
            <a:off x="6825916" y="6356349"/>
            <a:ext cx="2133600" cy="365125"/>
          </a:xfrm>
        </p:spPr>
        <p:txBody>
          <a:bodyPr/>
          <a:lstStyle/>
          <a:p>
            <a:fld id="{0F3273CA-9FB8-42BB-B213-5C72CFDFF2D7}" type="slidenum">
              <a:rPr kumimoji="1" lang="ja-JP" altLang="en-US" smtClean="0"/>
              <a:t>‹#›</a:t>
            </a:fld>
            <a:endParaRPr kumimoji="1" lang="ja-JP" altLang="en-US"/>
          </a:p>
        </p:txBody>
      </p:sp>
    </p:spTree>
    <p:extLst>
      <p:ext uri="{BB962C8B-B14F-4D97-AF65-F5344CB8AC3E}">
        <p14:creationId xmlns:p14="http://schemas.microsoft.com/office/powerpoint/2010/main" val="1683583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4B5CAAAC-5791-4DCC-BDCE-28D9B1FE6BCB}" type="datetime1">
              <a:rPr kumimoji="1" lang="ja-JP" altLang="en-US" smtClean="0"/>
              <a:t>2025/10/9</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0F3273CA-9FB8-42BB-B213-5C72CFDFF2D7}" type="slidenum">
              <a:rPr kumimoji="1" lang="ja-JP" altLang="en-US" smtClean="0"/>
              <a:t>‹#›</a:t>
            </a:fld>
            <a:endParaRPr kumimoji="1" lang="ja-JP" altLang="en-US"/>
          </a:p>
        </p:txBody>
      </p:sp>
    </p:spTree>
    <p:extLst>
      <p:ext uri="{BB962C8B-B14F-4D97-AF65-F5344CB8AC3E}">
        <p14:creationId xmlns:p14="http://schemas.microsoft.com/office/powerpoint/2010/main" val="35025914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 Only">
    <p:spTree>
      <p:nvGrpSpPr>
        <p:cNvPr id="1" name=""/>
        <p:cNvGrpSpPr/>
        <p:nvPr/>
      </p:nvGrpSpPr>
      <p:grpSpPr>
        <a:xfrm>
          <a:off x="0" y="0"/>
          <a:ext cx="0" cy="0"/>
          <a:chOff x="0" y="0"/>
          <a:chExt cx="0" cy="0"/>
        </a:xfrm>
      </p:grpSpPr>
      <p:sp>
        <p:nvSpPr>
          <p:cNvPr id="2" name="Title 1"/>
          <p:cNvSpPr>
            <a:spLocks noGrp="1"/>
          </p:cNvSpPr>
          <p:nvPr>
            <p:ph type="title"/>
          </p:nvPr>
        </p:nvSpPr>
        <p:spPr>
          <a:xfrm>
            <a:off x="539750" y="692150"/>
            <a:ext cx="8064500" cy="908050"/>
          </a:xfrm>
        </p:spPr>
        <p:txBody>
          <a:bodyPr/>
          <a:lstStyle>
            <a:lvl1pPr>
              <a:defRPr baseline="0"/>
            </a:lvl1pPr>
          </a:lstStyle>
          <a:p>
            <a:r>
              <a:rPr lang="ja-JP" altLang="en-US" noProof="0"/>
              <a:t>マスター タイトルの書式設定</a:t>
            </a:r>
            <a:endParaRPr lang="en-GB" noProof="0"/>
          </a:p>
        </p:txBody>
      </p:sp>
      <p:cxnSp>
        <p:nvCxnSpPr>
          <p:cNvPr id="10" name="Shape 9"/>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8" name="Slide Number Placeholder 5"/>
          <p:cNvSpPr>
            <a:spLocks noGrp="1"/>
          </p:cNvSpPr>
          <p:nvPr>
            <p:ph type="sldNum" sz="quarter" idx="4"/>
          </p:nvPr>
        </p:nvSpPr>
        <p:spPr>
          <a:xfrm>
            <a:off x="8383036" y="6475512"/>
            <a:ext cx="221214" cy="153888"/>
          </a:xfrm>
          <a:prstGeom prst="rect">
            <a:avLst/>
          </a:prstGeom>
        </p:spPr>
        <p:txBody>
          <a:bodyPr wrap="none" lIns="0" tIns="0" rIns="0" bIns="0" anchor="b" anchorCtr="0">
            <a:spAutoFit/>
          </a:bodyPr>
          <a:lstStyle>
            <a:lvl1pPr marL="0" algn="r" defTabSz="914400" rtl="0" eaLnBrk="1" latinLnBrk="0" hangingPunct="1">
              <a:defRPr lang="en-US" altLang="ja-JP" sz="1000" kern="1200" smtClean="0">
                <a:solidFill>
                  <a:schemeClr val="tx1"/>
                </a:solidFill>
                <a:latin typeface="Arial" pitchFamily="34" charset="0"/>
                <a:ea typeface="+mn-ea"/>
                <a:cs typeface="Arial" pitchFamily="34" charset="0"/>
              </a:defRPr>
            </a:lvl1pPr>
          </a:lstStyle>
          <a:p>
            <a:fld id="{9EBD5762-3BDC-484D-9503-7EA6D5A9A8CE}" type="slidenum">
              <a:rPr>
                <a:solidFill>
                  <a:srgbClr val="000000"/>
                </a:solidFill>
              </a:rPr>
              <a:pPr/>
              <a:t>‹#›</a:t>
            </a:fld>
            <a:endParaRPr lang="ja-JP" altLang="en-US">
              <a:solidFill>
                <a:srgbClr val="000000"/>
              </a:solidFill>
            </a:endParaRPr>
          </a:p>
        </p:txBody>
      </p:sp>
      <p:sp>
        <p:nvSpPr>
          <p:cNvPr id="9" name="Date Placeholder 3"/>
          <p:cNvSpPr>
            <a:spLocks noGrp="1"/>
          </p:cNvSpPr>
          <p:nvPr>
            <p:ph type="dt" sz="half" idx="2"/>
          </p:nvPr>
        </p:nvSpPr>
        <p:spPr>
          <a:xfrm>
            <a:off x="8604185" y="6323112"/>
            <a:ext cx="65" cy="153888"/>
          </a:xfrm>
          <a:prstGeom prst="rect">
            <a:avLst/>
          </a:prstGeom>
        </p:spPr>
        <p:txBody>
          <a:bodyPr wrap="none" lIns="0" tIns="0" rIns="0" bIns="0" anchor="b" anchorCtr="0">
            <a:spAutoFit/>
          </a:bodyPr>
          <a:lstStyle>
            <a:lvl1pPr marL="0" algn="r" defTabSz="914400" rtl="0" eaLnBrk="1" latinLnBrk="0" hangingPunct="1">
              <a:defRPr lang="ja-JP" altLang="en-US" sz="1000" kern="1200" dirty="0" smtClean="0">
                <a:solidFill>
                  <a:schemeClr val="tx1"/>
                </a:solidFill>
                <a:latin typeface="Arial" pitchFamily="34" charset="0"/>
                <a:ea typeface="+mn-ea"/>
                <a:cs typeface="Arial" pitchFamily="34" charset="0"/>
              </a:defRPr>
            </a:lvl1pPr>
          </a:lstStyle>
          <a:p>
            <a:fld id="{ED2E788F-DD64-401D-BC39-DA38B110302A}" type="datetime1">
              <a:rPr lang="ja-JP" altLang="en-US" smtClean="0">
                <a:solidFill>
                  <a:srgbClr val="000000"/>
                </a:solidFill>
              </a:rPr>
              <a:t>2025/10/9</a:t>
            </a:fld>
            <a:endParaRPr>
              <a:solidFill>
                <a:srgbClr val="000000"/>
              </a:solidFill>
            </a:endParaRPr>
          </a:p>
        </p:txBody>
      </p:sp>
    </p:spTree>
    <p:extLst>
      <p:ext uri="{BB962C8B-B14F-4D97-AF65-F5344CB8AC3E}">
        <p14:creationId xmlns:p14="http://schemas.microsoft.com/office/powerpoint/2010/main" val="216419531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D8A96270-15D2-461D-82FF-D3B96DFA7D2F}"/>
              </a:ext>
            </a:extLst>
          </p:cNvPr>
          <p:cNvGraphicFramePr>
            <a:graphicFrameLocks noChangeAspect="1"/>
          </p:cNvGraphicFramePr>
          <p:nvPr userDrawn="1">
            <p:custDataLst>
              <p:tags r:id="rId5"/>
            </p:custDataLst>
            <p:extLst>
              <p:ext uri="{D42A27DB-BD31-4B8C-83A1-F6EECF244321}">
                <p14:modId xmlns:p14="http://schemas.microsoft.com/office/powerpoint/2010/main" val="752085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473" imgH="473" progId="TCLayout.ActiveDocument.1">
                  <p:embed/>
                </p:oleObj>
              </mc:Choice>
              <mc:Fallback>
                <p:oleObj name="think-cell スライド" r:id="rId6" imgW="473" imgH="473" progId="TCLayout.ActiveDocument.1">
                  <p:embed/>
                  <p:pic>
                    <p:nvPicPr>
                      <p:cNvPr id="0" name=""/>
                      <p:cNvPicPr/>
                      <p:nvPr/>
                    </p:nvPicPr>
                    <p:blipFill>
                      <a:blip/>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8727F25-B05D-4068-B677-578D091622BF}" type="datetime1">
              <a:rPr kumimoji="1" lang="ja-JP" altLang="en-US" smtClean="0"/>
              <a:t>2025/10/9</a:t>
            </a:fld>
            <a:endParaRPr kumimoji="1" lang="ja-JP" altLang="en-US"/>
          </a:p>
        </p:txBody>
      </p:sp>
      <p:sp>
        <p:nvSpPr>
          <p:cNvPr id="5" name="フッター プレースホルダー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954252"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F3273CA-9FB8-42BB-B213-5C72CFDFF2D7}" type="slidenum">
              <a:rPr kumimoji="1" lang="ja-JP" altLang="en-US" smtClean="0"/>
              <a:t>‹#›</a:t>
            </a:fld>
            <a:endParaRPr kumimoji="1" lang="ja-JP" altLang="en-US"/>
          </a:p>
        </p:txBody>
      </p:sp>
    </p:spTree>
    <p:extLst>
      <p:ext uri="{BB962C8B-B14F-4D97-AF65-F5344CB8AC3E}">
        <p14:creationId xmlns:p14="http://schemas.microsoft.com/office/powerpoint/2010/main" val="819507278"/>
      </p:ext>
    </p:extLst>
  </p:cSld>
  <p:clrMap bg1="lt1" tx1="dk1" bg2="lt2" tx2="dk2" accent1="accent1" accent2="accent2" accent3="accent3" accent4="accent4" accent5="accent5" accent6="accent6" hlink="hlink" folHlink="folHlink"/>
  <p:sldLayoutIdLst>
    <p:sldLayoutId id="2147483649" r:id="rId1"/>
    <p:sldLayoutId id="2147483655" r:id="rId2"/>
    <p:sldLayoutId id="2147483686" r:id="rId3"/>
  </p:sldLayoutIdLst>
  <p:hf hdr="0" ftr="0" dt="0"/>
  <p:txStyles>
    <p:titleStyle>
      <a:lvl1pPr algn="ctr" defTabSz="914400" rtl="0" eaLnBrk="1" latinLnBrk="0" hangingPunct="1">
        <a:spcBef>
          <a:spcPct val="0"/>
        </a:spcBef>
        <a:buNone/>
        <a:defRPr kumimoji="1"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aa063002@pref.okinawa.lg.jp" TargetMode="External"/><Relationship Id="rId2" Type="http://schemas.openxmlformats.org/officeDocument/2006/relationships/image" Target="../media/image1.jpeg"/><Relationship Id="rId1" Type="http://schemas.openxmlformats.org/officeDocument/2006/relationships/slideLayout" Target="../slideLayouts/slideLayout1.xml"/><Relationship Id="rId4" Type="http://schemas.openxmlformats.org/officeDocument/2006/relationships/image" Target="../media/image2.png"/></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3.xml"/><Relationship Id="rId5" Type="http://schemas.openxmlformats.org/officeDocument/2006/relationships/image" Target="../media/image5.jpeg"/><Relationship Id="rId4" Type="http://schemas.openxmlformats.org/officeDocument/2006/relationships/image" Target="../media/image4.jpeg"/></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8.tmp"/><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image" Target="../media/image9.tmp"/></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4B74D54A-B37F-4660-B17D-7B760AD670D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19" name="Freeform 5">
            <a:extLst>
              <a:ext uri="{FF2B5EF4-FFF2-40B4-BE49-F238E27FC236}">
                <a16:creationId xmlns:a16="http://schemas.microsoft.com/office/drawing/2014/main" id="{4B0249D5-66F3-4E4E-92DF-F09E1188980B}"/>
              </a:ext>
            </a:extLst>
          </p:cNvPr>
          <p:cNvSpPr>
            <a:spLocks noChangeAspect="1"/>
          </p:cNvSpPr>
          <p:nvPr/>
        </p:nvSpPr>
        <p:spPr bwMode="white">
          <a:xfrm>
            <a:off x="0" y="0"/>
            <a:ext cx="9144000" cy="6858000"/>
          </a:xfrm>
          <a:custGeom>
            <a:avLst/>
            <a:gdLst>
              <a:gd name="T0" fmla="*/ 14239 w 19200"/>
              <a:gd name="T1" fmla="*/ 0 h 14399"/>
              <a:gd name="T2" fmla="*/ 14239 w 19200"/>
              <a:gd name="T3" fmla="*/ 0 h 14399"/>
              <a:gd name="T4" fmla="*/ 14239 w 19200"/>
              <a:gd name="T5" fmla="*/ 6948 h 14399"/>
              <a:gd name="T6" fmla="*/ 0 w 19200"/>
              <a:gd name="T7" fmla="*/ 6948 h 14399"/>
              <a:gd name="T8" fmla="*/ 0 w 19200"/>
              <a:gd name="T9" fmla="*/ 7591 h 14399"/>
              <a:gd name="T10" fmla="*/ 14239 w 19200"/>
              <a:gd name="T11" fmla="*/ 7591 h 14399"/>
              <a:gd name="T12" fmla="*/ 14239 w 19200"/>
              <a:gd name="T13" fmla="*/ 9227 h 14399"/>
              <a:gd name="T14" fmla="*/ 0 w 19200"/>
              <a:gd name="T15" fmla="*/ 9227 h 14399"/>
              <a:gd name="T16" fmla="*/ 0 w 19200"/>
              <a:gd name="T17" fmla="*/ 9869 h 14399"/>
              <a:gd name="T18" fmla="*/ 14239 w 19200"/>
              <a:gd name="T19" fmla="*/ 9869 h 14399"/>
              <a:gd name="T20" fmla="*/ 14239 w 19200"/>
              <a:gd name="T21" fmla="*/ 14399 h 14399"/>
              <a:gd name="T22" fmla="*/ 14881 w 19200"/>
              <a:gd name="T23" fmla="*/ 14399 h 14399"/>
              <a:gd name="T24" fmla="*/ 14881 w 19200"/>
              <a:gd name="T25" fmla="*/ 9869 h 14399"/>
              <a:gd name="T26" fmla="*/ 19200 w 19200"/>
              <a:gd name="T27" fmla="*/ 9869 h 14399"/>
              <a:gd name="T28" fmla="*/ 19200 w 19200"/>
              <a:gd name="T29" fmla="*/ 9227 h 14399"/>
              <a:gd name="T30" fmla="*/ 14881 w 19200"/>
              <a:gd name="T31" fmla="*/ 9227 h 14399"/>
              <a:gd name="T32" fmla="*/ 14881 w 19200"/>
              <a:gd name="T33" fmla="*/ 7591 h 14399"/>
              <a:gd name="T34" fmla="*/ 19200 w 19200"/>
              <a:gd name="T35" fmla="*/ 7591 h 14399"/>
              <a:gd name="T36" fmla="*/ 19200 w 19200"/>
              <a:gd name="T37" fmla="*/ 6948 h 14399"/>
              <a:gd name="T38" fmla="*/ 14881 w 19200"/>
              <a:gd name="T39" fmla="*/ 6948 h 14399"/>
              <a:gd name="T40" fmla="*/ 14881 w 19200"/>
              <a:gd name="T41" fmla="*/ 0 h 14399"/>
              <a:gd name="T42" fmla="*/ 14239 w 19200"/>
              <a:gd name="T43" fmla="*/ 0 h 14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200" h="14399">
                <a:moveTo>
                  <a:pt x="14239" y="0"/>
                </a:moveTo>
                <a:lnTo>
                  <a:pt x="14239" y="0"/>
                </a:lnTo>
                <a:lnTo>
                  <a:pt x="14239" y="6948"/>
                </a:lnTo>
                <a:lnTo>
                  <a:pt x="0" y="6948"/>
                </a:lnTo>
                <a:lnTo>
                  <a:pt x="0" y="7591"/>
                </a:lnTo>
                <a:lnTo>
                  <a:pt x="14239" y="7591"/>
                </a:lnTo>
                <a:lnTo>
                  <a:pt x="14239" y="9227"/>
                </a:lnTo>
                <a:lnTo>
                  <a:pt x="0" y="9227"/>
                </a:lnTo>
                <a:lnTo>
                  <a:pt x="0" y="9869"/>
                </a:lnTo>
                <a:lnTo>
                  <a:pt x="14239" y="9869"/>
                </a:lnTo>
                <a:lnTo>
                  <a:pt x="14239" y="14399"/>
                </a:lnTo>
                <a:lnTo>
                  <a:pt x="14881" y="14399"/>
                </a:lnTo>
                <a:lnTo>
                  <a:pt x="14881" y="9869"/>
                </a:lnTo>
                <a:lnTo>
                  <a:pt x="19200" y="9869"/>
                </a:lnTo>
                <a:lnTo>
                  <a:pt x="19200" y="9227"/>
                </a:lnTo>
                <a:lnTo>
                  <a:pt x="14881" y="9227"/>
                </a:lnTo>
                <a:lnTo>
                  <a:pt x="14881" y="7591"/>
                </a:lnTo>
                <a:lnTo>
                  <a:pt x="19200" y="7591"/>
                </a:lnTo>
                <a:lnTo>
                  <a:pt x="19200" y="6948"/>
                </a:lnTo>
                <a:lnTo>
                  <a:pt x="14881" y="6948"/>
                </a:lnTo>
                <a:lnTo>
                  <a:pt x="14881" y="0"/>
                </a:lnTo>
                <a:lnTo>
                  <a:pt x="1423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30">
            <a:extLst>
              <a:ext uri="{FF2B5EF4-FFF2-40B4-BE49-F238E27FC236}">
                <a16:creationId xmlns:a16="http://schemas.microsoft.com/office/drawing/2014/main" id="{D85F2848-01B5-4F6C-B859-6502BD26BFF3}"/>
              </a:ext>
            </a:extLst>
          </p:cNvPr>
          <p:cNvSpPr>
            <a:spLocks noChangeAspect="1"/>
          </p:cNvSpPr>
          <p:nvPr/>
        </p:nvSpPr>
        <p:spPr bwMode="hidden">
          <a:xfrm>
            <a:off x="0" y="3611880"/>
            <a:ext cx="6781800" cy="795452"/>
          </a:xfrm>
          <a:custGeom>
            <a:avLst/>
            <a:gdLst>
              <a:gd name="T0" fmla="*/ 0 w 7908"/>
              <a:gd name="T1" fmla="*/ 0 h 1632"/>
              <a:gd name="T2" fmla="*/ 0 w 7908"/>
              <a:gd name="T3" fmla="*/ 0 h 1632"/>
              <a:gd name="T4" fmla="*/ 7908 w 7908"/>
              <a:gd name="T5" fmla="*/ 0 h 1632"/>
              <a:gd name="T6" fmla="*/ 7908 w 7908"/>
              <a:gd name="T7" fmla="*/ 1632 h 1632"/>
              <a:gd name="T8" fmla="*/ 0 w 7908"/>
              <a:gd name="T9" fmla="*/ 1632 h 1632"/>
              <a:gd name="T10" fmla="*/ 0 w 7908"/>
              <a:gd name="T11" fmla="*/ 0 h 1632"/>
            </a:gdLst>
            <a:ahLst/>
            <a:cxnLst>
              <a:cxn ang="0">
                <a:pos x="T0" y="T1"/>
              </a:cxn>
              <a:cxn ang="0">
                <a:pos x="T2" y="T3"/>
              </a:cxn>
              <a:cxn ang="0">
                <a:pos x="T4" y="T5"/>
              </a:cxn>
              <a:cxn ang="0">
                <a:pos x="T6" y="T7"/>
              </a:cxn>
              <a:cxn ang="0">
                <a:pos x="T8" y="T9"/>
              </a:cxn>
              <a:cxn ang="0">
                <a:pos x="T10" y="T11"/>
              </a:cxn>
            </a:cxnLst>
            <a:rect l="0" t="0" r="r" b="b"/>
            <a:pathLst>
              <a:path w="7908" h="1632">
                <a:moveTo>
                  <a:pt x="0" y="0"/>
                </a:moveTo>
                <a:lnTo>
                  <a:pt x="0" y="0"/>
                </a:lnTo>
                <a:lnTo>
                  <a:pt x="7908" y="0"/>
                </a:lnTo>
                <a:lnTo>
                  <a:pt x="7908" y="1632"/>
                </a:lnTo>
                <a:lnTo>
                  <a:pt x="0" y="1632"/>
                </a:lnTo>
                <a:lnTo>
                  <a:pt x="0" y="0"/>
                </a:lnTo>
                <a:close/>
              </a:path>
            </a:pathLst>
          </a:custGeom>
          <a:solidFill>
            <a:srgbClr val="D04A0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正方形/長方形 11">
            <a:extLst>
              <a:ext uri="{FF2B5EF4-FFF2-40B4-BE49-F238E27FC236}">
                <a16:creationId xmlns:a16="http://schemas.microsoft.com/office/drawing/2014/main" id="{34C02821-696B-4B94-9B68-31F76017CE36}"/>
              </a:ext>
            </a:extLst>
          </p:cNvPr>
          <p:cNvSpPr/>
          <p:nvPr/>
        </p:nvSpPr>
        <p:spPr>
          <a:xfrm>
            <a:off x="0" y="92578"/>
            <a:ext cx="8934994" cy="3785652"/>
          </a:xfrm>
          <a:prstGeom prst="rect">
            <a:avLst/>
          </a:prstGeom>
        </p:spPr>
        <p:txBody>
          <a:bodyPr wrap="square">
            <a:spAutoFit/>
          </a:bodyPr>
          <a:lstStyle/>
          <a:p>
            <a:r>
              <a:rPr lang="ja-JP" altLang="en-US" sz="4800" b="1" i="1" dirty="0">
                <a:ln>
                  <a:solidFill>
                    <a:schemeClr val="tx2">
                      <a:lumMod val="75000"/>
                    </a:schemeClr>
                  </a:solidFill>
                </a:ln>
                <a:solidFill>
                  <a:schemeClr val="accent6">
                    <a:lumMod val="40000"/>
                    <a:lumOff val="60000"/>
                  </a:schemeClr>
                </a:solidFill>
                <a:latin typeface="HGS創英角ｺﾞｼｯｸUB" panose="020B0900000000000000" pitchFamily="50" charset="-128"/>
                <a:ea typeface="HGS創英角ｺﾞｼｯｸUB" panose="020B0900000000000000" pitchFamily="50" charset="-128"/>
              </a:rPr>
              <a:t>　　</a:t>
            </a:r>
            <a:endParaRPr lang="en-US" altLang="ja-JP" sz="4800" b="1" i="1" dirty="0">
              <a:ln>
                <a:solidFill>
                  <a:schemeClr val="tx2">
                    <a:lumMod val="75000"/>
                  </a:schemeClr>
                </a:solidFill>
              </a:ln>
              <a:solidFill>
                <a:schemeClr val="accent6">
                  <a:lumMod val="40000"/>
                  <a:lumOff val="60000"/>
                </a:schemeClr>
              </a:solidFill>
              <a:latin typeface="HGS創英角ｺﾞｼｯｸUB" panose="020B0900000000000000" pitchFamily="50" charset="-128"/>
              <a:ea typeface="HGS創英角ｺﾞｼｯｸUB" panose="020B0900000000000000" pitchFamily="50" charset="-128"/>
            </a:endParaRPr>
          </a:p>
          <a:p>
            <a:endParaRPr lang="en-US" altLang="ja-JP" sz="4800" b="1" i="1" dirty="0">
              <a:ln>
                <a:solidFill>
                  <a:schemeClr val="tx2">
                    <a:lumMod val="75000"/>
                  </a:schemeClr>
                </a:solidFill>
              </a:ln>
              <a:solidFill>
                <a:schemeClr val="accent6">
                  <a:lumMod val="40000"/>
                  <a:lumOff val="60000"/>
                </a:schemeClr>
              </a:solidFill>
              <a:latin typeface="HGS創英角ｺﾞｼｯｸUB" panose="020B0900000000000000" pitchFamily="50" charset="-128"/>
              <a:ea typeface="HGS創英角ｺﾞｼｯｸUB" panose="020B0900000000000000" pitchFamily="50" charset="-128"/>
            </a:endParaRPr>
          </a:p>
          <a:p>
            <a:r>
              <a:rPr lang="ja-JP" altLang="en-US" sz="4800" b="1" i="1" dirty="0">
                <a:ln>
                  <a:solidFill>
                    <a:schemeClr val="tx2">
                      <a:lumMod val="75000"/>
                    </a:schemeClr>
                  </a:solidFill>
                </a:ln>
                <a:solidFill>
                  <a:schemeClr val="accent6">
                    <a:lumMod val="40000"/>
                    <a:lumOff val="60000"/>
                  </a:schemeClr>
                </a:solidFill>
                <a:latin typeface="HGS創英角ｺﾞｼｯｸUB" panose="020B0900000000000000" pitchFamily="50" charset="-128"/>
                <a:ea typeface="HGS創英角ｺﾞｼｯｸUB" panose="020B0900000000000000" pitchFamily="50" charset="-128"/>
              </a:rPr>
              <a:t>下地島空港及び</a:t>
            </a:r>
            <a:endParaRPr lang="en-US" altLang="ja-JP" sz="4800" b="1" i="1" dirty="0">
              <a:ln>
                <a:solidFill>
                  <a:schemeClr val="tx2">
                    <a:lumMod val="75000"/>
                  </a:schemeClr>
                </a:solidFill>
              </a:ln>
              <a:solidFill>
                <a:schemeClr val="accent6">
                  <a:lumMod val="40000"/>
                  <a:lumOff val="60000"/>
                </a:schemeClr>
              </a:solidFill>
              <a:latin typeface="HGS創英角ｺﾞｼｯｸUB" panose="020B0900000000000000" pitchFamily="50" charset="-128"/>
              <a:ea typeface="HGS創英角ｺﾞｼｯｸUB" panose="020B0900000000000000" pitchFamily="50" charset="-128"/>
            </a:endParaRPr>
          </a:p>
          <a:p>
            <a:r>
              <a:rPr lang="ja-JP" altLang="en-US" sz="4800" b="1" i="1" dirty="0">
                <a:ln>
                  <a:solidFill>
                    <a:schemeClr val="tx2">
                      <a:lumMod val="75000"/>
                    </a:schemeClr>
                  </a:solidFill>
                </a:ln>
                <a:solidFill>
                  <a:schemeClr val="accent6">
                    <a:lumMod val="40000"/>
                    <a:lumOff val="60000"/>
                  </a:schemeClr>
                </a:solidFill>
                <a:latin typeface="HGS創英角ｺﾞｼｯｸUB" panose="020B0900000000000000" pitchFamily="50" charset="-128"/>
                <a:ea typeface="HGS創英角ｺﾞｼｯｸUB" panose="020B0900000000000000" pitchFamily="50" charset="-128"/>
              </a:rPr>
              <a:t>　　　周辺用地の利活用事業</a:t>
            </a:r>
            <a:endParaRPr lang="en-US" altLang="ja-JP" sz="4800" b="1" i="1" dirty="0">
              <a:ln>
                <a:solidFill>
                  <a:schemeClr val="tx2">
                    <a:lumMod val="75000"/>
                  </a:schemeClr>
                </a:solidFill>
              </a:ln>
              <a:solidFill>
                <a:schemeClr val="accent6">
                  <a:lumMod val="40000"/>
                  <a:lumOff val="60000"/>
                </a:schemeClr>
              </a:solidFill>
              <a:latin typeface="HGS創英角ｺﾞｼｯｸUB" panose="020B0900000000000000" pitchFamily="50" charset="-128"/>
              <a:ea typeface="HGS創英角ｺﾞｼｯｸUB" panose="020B0900000000000000" pitchFamily="50" charset="-128"/>
            </a:endParaRPr>
          </a:p>
          <a:p>
            <a:endParaRPr lang="en-US" altLang="ja-JP" sz="4800" b="1" i="1" dirty="0">
              <a:ln>
                <a:solidFill>
                  <a:schemeClr val="tx2">
                    <a:lumMod val="75000"/>
                  </a:schemeClr>
                </a:solidFill>
              </a:ln>
              <a:solidFill>
                <a:schemeClr val="accent6">
                  <a:lumMod val="40000"/>
                  <a:lumOff val="60000"/>
                </a:schemeClr>
              </a:solidFill>
              <a:latin typeface="HGS創英角ｺﾞｼｯｸUB" panose="020B0900000000000000" pitchFamily="50" charset="-128"/>
              <a:ea typeface="HGS創英角ｺﾞｼｯｸUB" panose="020B0900000000000000" pitchFamily="50" charset="-128"/>
            </a:endParaRPr>
          </a:p>
        </p:txBody>
      </p:sp>
      <p:sp>
        <p:nvSpPr>
          <p:cNvPr id="26" name="Subtitle 2">
            <a:extLst>
              <a:ext uri="{FF2B5EF4-FFF2-40B4-BE49-F238E27FC236}">
                <a16:creationId xmlns:a16="http://schemas.microsoft.com/office/drawing/2014/main" id="{A7CC51B1-D39D-4586-93C7-7F09664C2DA1}"/>
              </a:ext>
            </a:extLst>
          </p:cNvPr>
          <p:cNvSpPr txBox="1">
            <a:spLocks/>
          </p:cNvSpPr>
          <p:nvPr/>
        </p:nvSpPr>
        <p:spPr>
          <a:xfrm>
            <a:off x="4970780" y="5098383"/>
            <a:ext cx="4051300" cy="1384995"/>
          </a:xfrm>
          <a:prstGeom prst="rect">
            <a:avLst/>
          </a:prstGeom>
          <a:solidFill>
            <a:schemeClr val="bg1"/>
          </a:solidFill>
        </p:spPr>
        <p:txBody>
          <a:bodyPr vert="horz" wrap="square" lIns="0" tIns="0" rIns="0" bIns="0" rtlCol="0" anchor="ctr" anchorCtr="0">
            <a:spAutoFit/>
          </a:bodyPr>
          <a:lstStyle>
            <a:lvl1pPr marL="0" indent="0" algn="l" defTabSz="685800" rtl="0" eaLnBrk="1" latinLnBrk="0" hangingPunct="1">
              <a:lnSpc>
                <a:spcPct val="100000"/>
              </a:lnSpc>
              <a:spcBef>
                <a:spcPts val="0"/>
              </a:spcBef>
              <a:spcAft>
                <a:spcPts val="0"/>
              </a:spcAft>
              <a:buFont typeface="Arial" panose="020B0604020202020204" pitchFamily="34" charset="0"/>
              <a:buNone/>
              <a:defRPr kumimoji="1" sz="1400" b="0" kern="1200">
                <a:solidFill>
                  <a:schemeClr val="bg1"/>
                </a:solidFill>
                <a:latin typeface="+mn-lt"/>
                <a:ea typeface="+mn-ea"/>
                <a:cs typeface="+mn-cs"/>
              </a:defRPr>
            </a:lvl1pPr>
            <a:lvl2pPr marL="0" indent="0" algn="l" defTabSz="685800" rtl="0" eaLnBrk="1" latinLnBrk="0" hangingPunct="1">
              <a:lnSpc>
                <a:spcPct val="100000"/>
              </a:lnSpc>
              <a:spcBef>
                <a:spcPts val="0"/>
              </a:spcBef>
              <a:spcAft>
                <a:spcPts val="0"/>
              </a:spcAft>
              <a:buFont typeface="Arial" panose="020B0604020202020204" pitchFamily="34" charset="0"/>
              <a:buNone/>
              <a:defRPr kumimoji="1" sz="1400" kern="1200">
                <a:solidFill>
                  <a:schemeClr val="bg1"/>
                </a:solidFill>
                <a:latin typeface="+mn-lt"/>
                <a:ea typeface="+mn-ea"/>
                <a:cs typeface="+mn-cs"/>
              </a:defRPr>
            </a:lvl2pPr>
            <a:lvl3pPr marL="0" indent="0" algn="l" defTabSz="685800" rtl="0" eaLnBrk="1" latinLnBrk="0" hangingPunct="1">
              <a:lnSpc>
                <a:spcPct val="100000"/>
              </a:lnSpc>
              <a:spcBef>
                <a:spcPts val="0"/>
              </a:spcBef>
              <a:spcAft>
                <a:spcPts val="0"/>
              </a:spcAft>
              <a:buFont typeface="Arial" panose="020B0604020202020204" pitchFamily="34" charset="0"/>
              <a:buNone/>
              <a:defRPr kumimoji="1" sz="1400" kern="1200">
                <a:solidFill>
                  <a:schemeClr val="bg1"/>
                </a:solidFill>
                <a:latin typeface="+mn-lt"/>
                <a:ea typeface="+mn-ea"/>
                <a:cs typeface="+mn-cs"/>
              </a:defRPr>
            </a:lvl3pPr>
            <a:lvl4pPr marL="0" indent="0" algn="l" defTabSz="685800" rtl="0" eaLnBrk="1" latinLnBrk="0" hangingPunct="1">
              <a:lnSpc>
                <a:spcPct val="100000"/>
              </a:lnSpc>
              <a:spcBef>
                <a:spcPts val="0"/>
              </a:spcBef>
              <a:spcAft>
                <a:spcPts val="0"/>
              </a:spcAft>
              <a:buFont typeface="Arial" panose="020B0604020202020204" pitchFamily="34" charset="0"/>
              <a:buNone/>
              <a:defRPr kumimoji="1" sz="1400" kern="1200">
                <a:solidFill>
                  <a:schemeClr val="bg1"/>
                </a:solidFill>
                <a:latin typeface="+mn-lt"/>
                <a:ea typeface="+mn-ea"/>
                <a:cs typeface="+mn-cs"/>
              </a:defRPr>
            </a:lvl4pPr>
            <a:lvl5pPr marL="0" indent="0" algn="l" defTabSz="685800" rtl="0" eaLnBrk="1" latinLnBrk="0" hangingPunct="1">
              <a:lnSpc>
                <a:spcPct val="100000"/>
              </a:lnSpc>
              <a:spcBef>
                <a:spcPts val="0"/>
              </a:spcBef>
              <a:spcAft>
                <a:spcPts val="0"/>
              </a:spcAft>
              <a:buFont typeface="Arial" panose="020B0604020202020204" pitchFamily="34" charset="0"/>
              <a:buNone/>
              <a:defRPr kumimoji="1" sz="1400" kern="1200">
                <a:solidFill>
                  <a:schemeClr val="bg1"/>
                </a:solidFill>
                <a:latin typeface="+mn-lt"/>
                <a:ea typeface="+mn-ea"/>
                <a:cs typeface="+mn-cs"/>
              </a:defRPr>
            </a:lvl5pPr>
            <a:lvl6pPr marL="0" indent="0" algn="l" defTabSz="685800" rtl="0" eaLnBrk="1" latinLnBrk="0" hangingPunct="1">
              <a:lnSpc>
                <a:spcPct val="100000"/>
              </a:lnSpc>
              <a:spcBef>
                <a:spcPts val="0"/>
              </a:spcBef>
              <a:spcAft>
                <a:spcPts val="0"/>
              </a:spcAft>
              <a:buFont typeface="Arial" panose="020B0604020202020204" pitchFamily="34" charset="0"/>
              <a:buNone/>
              <a:defRPr kumimoji="1" sz="1400" kern="1200">
                <a:solidFill>
                  <a:schemeClr val="bg1"/>
                </a:solidFill>
                <a:latin typeface="+mn-lt"/>
                <a:ea typeface="+mn-ea"/>
                <a:cs typeface="+mn-cs"/>
              </a:defRPr>
            </a:lvl6pPr>
            <a:lvl7pPr marL="0" indent="0" algn="l" defTabSz="685800" rtl="0" eaLnBrk="1" latinLnBrk="0" hangingPunct="1">
              <a:lnSpc>
                <a:spcPct val="100000"/>
              </a:lnSpc>
              <a:spcBef>
                <a:spcPts val="0"/>
              </a:spcBef>
              <a:spcAft>
                <a:spcPts val="0"/>
              </a:spcAft>
              <a:buFont typeface="Arial" panose="020B0604020202020204" pitchFamily="34" charset="0"/>
              <a:buNone/>
              <a:defRPr kumimoji="1" sz="1400" kern="1200">
                <a:solidFill>
                  <a:schemeClr val="bg1"/>
                </a:solidFill>
                <a:latin typeface="+mn-lt"/>
                <a:ea typeface="+mn-ea"/>
                <a:cs typeface="+mn-cs"/>
              </a:defRPr>
            </a:lvl7pPr>
            <a:lvl8pPr marL="0" indent="0" algn="l" defTabSz="685800" rtl="0" eaLnBrk="1" latinLnBrk="0" hangingPunct="1">
              <a:lnSpc>
                <a:spcPct val="100000"/>
              </a:lnSpc>
              <a:spcBef>
                <a:spcPts val="0"/>
              </a:spcBef>
              <a:spcAft>
                <a:spcPts val="0"/>
              </a:spcAft>
              <a:buFont typeface="Arial" panose="020B0604020202020204" pitchFamily="34" charset="0"/>
              <a:buNone/>
              <a:defRPr kumimoji="1" sz="1400" kern="1200">
                <a:solidFill>
                  <a:schemeClr val="bg1"/>
                </a:solidFill>
                <a:latin typeface="+mn-lt"/>
                <a:ea typeface="+mn-ea"/>
                <a:cs typeface="+mn-cs"/>
              </a:defRPr>
            </a:lvl8pPr>
            <a:lvl9pPr marL="0" indent="0" algn="l" defTabSz="685800" rtl="0" eaLnBrk="1" latinLnBrk="0" hangingPunct="1">
              <a:lnSpc>
                <a:spcPct val="100000"/>
              </a:lnSpc>
              <a:spcBef>
                <a:spcPts val="0"/>
              </a:spcBef>
              <a:spcAft>
                <a:spcPts val="0"/>
              </a:spcAft>
              <a:buFont typeface="Arial" panose="020B0604020202020204" pitchFamily="34" charset="0"/>
              <a:buNone/>
              <a:defRPr kumimoji="1" sz="1400" kern="1200">
                <a:solidFill>
                  <a:schemeClr val="bg1"/>
                </a:solidFill>
                <a:latin typeface="+mn-lt"/>
                <a:ea typeface="+mn-ea"/>
                <a:cs typeface="+mn-cs"/>
              </a:defRPr>
            </a:lvl9pPr>
          </a:lstStyle>
          <a:p>
            <a:pPr lvl="0"/>
            <a:r>
              <a:rPr lang="ja-JP" altLang="en-US" sz="1800" dirty="0">
                <a:solidFill>
                  <a:schemeClr val="tx1"/>
                </a:solidFill>
                <a:latin typeface="Arial"/>
              </a:rPr>
              <a:t>問合せ先</a:t>
            </a:r>
            <a:endParaRPr lang="en-US" altLang="ja-JP" sz="1800" dirty="0">
              <a:solidFill>
                <a:schemeClr val="tx1"/>
              </a:solidFill>
              <a:latin typeface="Arial"/>
            </a:endParaRPr>
          </a:p>
          <a:p>
            <a:pPr lvl="0"/>
            <a:r>
              <a:rPr lang="ja-JP" altLang="en-US" sz="1800" dirty="0">
                <a:solidFill>
                  <a:schemeClr val="tx1"/>
                </a:solidFill>
                <a:latin typeface="Arial"/>
              </a:rPr>
              <a:t>沖縄県　土木建築部　空港課</a:t>
            </a:r>
            <a:endParaRPr lang="en-US" altLang="ja-JP" sz="1800" dirty="0">
              <a:solidFill>
                <a:schemeClr val="tx1"/>
              </a:solidFill>
              <a:latin typeface="Arial"/>
            </a:endParaRPr>
          </a:p>
          <a:p>
            <a:pPr lvl="0"/>
            <a:r>
              <a:rPr lang="ja-JP" altLang="en-US" sz="1800" dirty="0">
                <a:solidFill>
                  <a:schemeClr val="tx1"/>
                </a:solidFill>
                <a:latin typeface="Arial"/>
              </a:rPr>
              <a:t>電話　：　</a:t>
            </a:r>
            <a:r>
              <a:rPr lang="en-US" altLang="ja-JP" sz="1800" dirty="0">
                <a:solidFill>
                  <a:schemeClr val="tx1"/>
                </a:solidFill>
                <a:latin typeface="Arial"/>
              </a:rPr>
              <a:t>098-866-2400</a:t>
            </a:r>
          </a:p>
          <a:p>
            <a:pPr lvl="0"/>
            <a:r>
              <a:rPr lang="en-US" altLang="ja-JP" sz="1800" dirty="0">
                <a:solidFill>
                  <a:schemeClr val="tx1"/>
                </a:solidFill>
                <a:latin typeface="Arial"/>
              </a:rPr>
              <a:t>Mail</a:t>
            </a:r>
            <a:r>
              <a:rPr lang="ja-JP" altLang="en-US" sz="1800" dirty="0">
                <a:solidFill>
                  <a:schemeClr val="tx1"/>
                </a:solidFill>
                <a:latin typeface="Arial"/>
              </a:rPr>
              <a:t>　 ：　</a:t>
            </a:r>
            <a:r>
              <a:rPr lang="en-US" altLang="ja-JP" sz="1800" dirty="0">
                <a:solidFill>
                  <a:schemeClr val="tx1"/>
                </a:solidFill>
                <a:latin typeface="Arial"/>
                <a:hlinkClick r:id="rId3">
                  <a:extLst>
                    <a:ext uri="{A12FA001-AC4F-418D-AE19-62706E023703}">
                      <ahyp:hlinkClr xmlns:ahyp="http://schemas.microsoft.com/office/drawing/2018/hyperlinkcolor" val="tx"/>
                    </a:ext>
                  </a:extLst>
                </a:hlinkClick>
              </a:rPr>
              <a:t>aa063002@pref.okinawa.lg.jp</a:t>
            </a:r>
            <a:endParaRPr lang="en-US" altLang="ja-JP" sz="1800" dirty="0">
              <a:solidFill>
                <a:schemeClr val="tx1"/>
              </a:solidFill>
              <a:latin typeface="Arial"/>
            </a:endParaRPr>
          </a:p>
          <a:p>
            <a:pPr lvl="0"/>
            <a:r>
              <a:rPr lang="ja-JP" altLang="en-US" sz="1800" b="1" u="sng" dirty="0">
                <a:solidFill>
                  <a:schemeClr val="tx1"/>
                </a:solidFill>
                <a:latin typeface="Arial"/>
              </a:rPr>
              <a:t>　</a:t>
            </a:r>
            <a:r>
              <a:rPr lang="en-US" altLang="ja-JP" sz="1800" b="1" u="sng" dirty="0">
                <a:solidFill>
                  <a:schemeClr val="tx1"/>
                </a:solidFill>
                <a:latin typeface="Arial"/>
              </a:rPr>
              <a:t>※</a:t>
            </a:r>
            <a:r>
              <a:rPr lang="ja-JP" altLang="en-US" sz="1800" b="1" u="sng" dirty="0">
                <a:solidFill>
                  <a:schemeClr val="tx1"/>
                </a:solidFill>
                <a:latin typeface="Arial"/>
              </a:rPr>
              <a:t>　本資料は令和</a:t>
            </a:r>
            <a:r>
              <a:rPr lang="en-US" altLang="ja-JP" sz="1800" b="1" u="sng" dirty="0">
                <a:solidFill>
                  <a:schemeClr val="tx1"/>
                </a:solidFill>
                <a:latin typeface="Arial"/>
              </a:rPr>
              <a:t>7</a:t>
            </a:r>
            <a:r>
              <a:rPr lang="ja-JP" altLang="en-US" sz="1800" b="1" u="sng" dirty="0">
                <a:solidFill>
                  <a:schemeClr val="tx1"/>
                </a:solidFill>
                <a:latin typeface="Arial"/>
              </a:rPr>
              <a:t>年</a:t>
            </a:r>
            <a:r>
              <a:rPr lang="en-US" altLang="ja-JP" sz="1800" b="1" u="sng" dirty="0">
                <a:solidFill>
                  <a:schemeClr val="tx1"/>
                </a:solidFill>
                <a:latin typeface="Arial"/>
              </a:rPr>
              <a:t>10</a:t>
            </a:r>
            <a:r>
              <a:rPr lang="ja-JP" altLang="en-US" sz="1800" b="1" u="sng" dirty="0">
                <a:solidFill>
                  <a:schemeClr val="tx1"/>
                </a:solidFill>
                <a:latin typeface="Arial"/>
              </a:rPr>
              <a:t>月時点のもの</a:t>
            </a:r>
            <a:endParaRPr lang="en-US" altLang="ja-JP" sz="1800" b="1" u="sng" dirty="0">
              <a:solidFill>
                <a:schemeClr val="tx1"/>
              </a:solidFill>
              <a:latin typeface="Arial"/>
            </a:endParaRPr>
          </a:p>
        </p:txBody>
      </p:sp>
      <p:pic>
        <p:nvPicPr>
          <p:cNvPr id="27" name="Picture 2">
            <a:extLst>
              <a:ext uri="{FF2B5EF4-FFF2-40B4-BE49-F238E27FC236}">
                <a16:creationId xmlns:a16="http://schemas.microsoft.com/office/drawing/2014/main" id="{54EEF340-49C1-4E2D-93ED-DD308989793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0689" y="103686"/>
            <a:ext cx="1481137" cy="506412"/>
          </a:xfrm>
          <a:prstGeom prst="rect">
            <a:avLst/>
          </a:prstGeom>
          <a:noFill/>
          <a:ln>
            <a:noFill/>
          </a:ln>
          <a:effectLst/>
        </p:spPr>
      </p:pic>
      <p:sp>
        <p:nvSpPr>
          <p:cNvPr id="33" name="正方形/長方形 32">
            <a:extLst>
              <a:ext uri="{FF2B5EF4-FFF2-40B4-BE49-F238E27FC236}">
                <a16:creationId xmlns:a16="http://schemas.microsoft.com/office/drawing/2014/main" id="{2F8F2391-ACF9-44BC-A42B-AFE33C621DA1}"/>
              </a:ext>
            </a:extLst>
          </p:cNvPr>
          <p:cNvSpPr/>
          <p:nvPr/>
        </p:nvSpPr>
        <p:spPr>
          <a:xfrm>
            <a:off x="8337369" y="6673334"/>
            <a:ext cx="806631" cy="184666"/>
          </a:xfrm>
          <a:prstGeom prst="rect">
            <a:avLst/>
          </a:prstGeom>
        </p:spPr>
        <p:txBody>
          <a:bodyPr wrap="none">
            <a:spAutoFit/>
          </a:bodyPr>
          <a:lstStyle/>
          <a:p>
            <a:r>
              <a:rPr lang="ja-JP" altLang="en-US" sz="600" dirty="0">
                <a:solidFill>
                  <a:schemeClr val="bg1"/>
                </a:solidFill>
                <a:latin typeface="ＭＳ Ｐ明朝" panose="02020600040205080304" pitchFamily="18" charset="-128"/>
                <a:ea typeface="ＭＳ Ｐ明朝" panose="02020600040205080304" pitchFamily="18" charset="-128"/>
              </a:rPr>
              <a:t>（写真提供</a:t>
            </a:r>
            <a:r>
              <a:rPr lang="en-US" altLang="ja-JP" sz="600" dirty="0">
                <a:solidFill>
                  <a:schemeClr val="bg1"/>
                </a:solidFill>
                <a:latin typeface="ＭＳ Ｐ明朝" panose="02020600040205080304" pitchFamily="18" charset="-128"/>
                <a:ea typeface="ＭＳ Ｐ明朝" panose="02020600040205080304" pitchFamily="18" charset="-128"/>
              </a:rPr>
              <a:t>:OCVB</a:t>
            </a:r>
            <a:r>
              <a:rPr lang="ja-JP" altLang="en-US" sz="600" dirty="0">
                <a:solidFill>
                  <a:schemeClr val="bg1"/>
                </a:solidFill>
                <a:latin typeface="ＭＳ Ｐ明朝" panose="02020600040205080304" pitchFamily="18" charset="-128"/>
                <a:ea typeface="ＭＳ Ｐ明朝" panose="02020600040205080304" pitchFamily="18" charset="-128"/>
              </a:rPr>
              <a:t>）</a:t>
            </a:r>
          </a:p>
        </p:txBody>
      </p:sp>
    </p:spTree>
    <p:extLst>
      <p:ext uri="{BB962C8B-B14F-4D97-AF65-F5344CB8AC3E}">
        <p14:creationId xmlns:p14="http://schemas.microsoft.com/office/powerpoint/2010/main" val="14814315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タイトル 1"/>
          <p:cNvSpPr txBox="1">
            <a:spLocks/>
          </p:cNvSpPr>
          <p:nvPr/>
        </p:nvSpPr>
        <p:spPr>
          <a:xfrm>
            <a:off x="395536" y="235585"/>
            <a:ext cx="8064500" cy="45711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lvl1pPr algn="l" defTabSz="914400" rtl="0" eaLnBrk="1" latinLnBrk="0" hangingPunct="1">
              <a:lnSpc>
                <a:spcPct val="100000"/>
              </a:lnSpc>
              <a:spcBef>
                <a:spcPct val="0"/>
              </a:spcBef>
              <a:buNone/>
              <a:defRPr kumimoji="1" lang="en-GB" altLang="ja-JP" sz="2400" b="1" i="1" kern="1200" baseline="0" noProof="0">
                <a:solidFill>
                  <a:schemeClr val="tx1"/>
                </a:solidFill>
                <a:latin typeface="+mj-lt"/>
                <a:ea typeface="+mj-ea"/>
                <a:cs typeface="+mj-cs"/>
              </a:defRPr>
            </a:lvl1pPr>
          </a:lstStyle>
          <a:p>
            <a:pPr lvl="0">
              <a:defRPr/>
            </a:pPr>
            <a:r>
              <a:rPr lang="ja-JP" altLang="en-US" sz="2000" dirty="0">
                <a:solidFill>
                  <a:schemeClr val="tx2">
                    <a:lumMod val="75000"/>
                  </a:schemeClr>
                </a:solidFill>
                <a:latin typeface="HGP明朝E"/>
                <a:ea typeface="HGP明朝E"/>
              </a:rPr>
              <a:t>概要</a:t>
            </a:r>
            <a:r>
              <a:rPr kumimoji="1" lang="ja-JP" altLang="en-US" sz="2000" b="1" i="1" u="none" strike="noStrike" kern="1200" cap="none" spc="0" normalizeH="0" baseline="0" noProof="0" dirty="0">
                <a:ln>
                  <a:noFill/>
                </a:ln>
                <a:solidFill>
                  <a:schemeClr val="tx2">
                    <a:lumMod val="75000"/>
                  </a:schemeClr>
                </a:solidFill>
                <a:effectLst/>
                <a:uLnTx/>
                <a:uFillTx/>
                <a:latin typeface="HGP明朝E"/>
                <a:ea typeface="HGP明朝E"/>
              </a:rPr>
              <a:t>　　</a:t>
            </a:r>
            <a:r>
              <a:rPr lang="ja-JP" altLang="en-US" sz="1800" dirty="0">
                <a:solidFill>
                  <a:schemeClr val="tx2">
                    <a:lumMod val="75000"/>
                  </a:schemeClr>
                </a:solidFill>
                <a:latin typeface="HGP明朝E"/>
                <a:ea typeface="HGP明朝E"/>
              </a:rPr>
              <a:t>～これまでの経緯</a:t>
            </a:r>
          </a:p>
        </p:txBody>
      </p:sp>
      <p:sp>
        <p:nvSpPr>
          <p:cNvPr id="4" name="正方形/長方形 3"/>
          <p:cNvSpPr/>
          <p:nvPr/>
        </p:nvSpPr>
        <p:spPr>
          <a:xfrm>
            <a:off x="270457" y="1095152"/>
            <a:ext cx="5132230" cy="5527263"/>
          </a:xfrm>
          <a:prstGeom prst="rect">
            <a:avLst/>
          </a:prstGeom>
        </p:spPr>
        <p:txBody>
          <a:bodyPr wrap="square">
            <a:noAutofit/>
          </a:bodyPr>
          <a:lstStyle/>
          <a:p>
            <a:pPr marL="285750" indent="-285750">
              <a:lnSpc>
                <a:spcPct val="150000"/>
              </a:lnSpc>
              <a:buFont typeface="Arial" panose="020B0604020202020204" pitchFamily="34" charset="0"/>
              <a:buChar char="•"/>
            </a:pPr>
            <a:r>
              <a:rPr lang="ja-JP" altLang="en-US" sz="1600" b="1" u="sng" dirty="0">
                <a:solidFill>
                  <a:srgbClr val="FF0000"/>
                </a:solidFill>
                <a:latin typeface="ＭＳ Ｐ明朝" panose="02020600040205080304" pitchFamily="18" charset="-128"/>
                <a:ea typeface="ＭＳ Ｐ明朝" panose="02020600040205080304" pitchFamily="18" charset="-128"/>
              </a:rPr>
              <a:t>国内唯一のパイロット訓練飛行場として昭和</a:t>
            </a:r>
            <a:r>
              <a:rPr lang="en-US" altLang="ja-JP" sz="1600" b="1" u="sng" dirty="0">
                <a:solidFill>
                  <a:srgbClr val="FF0000"/>
                </a:solidFill>
                <a:latin typeface="Georgia" panose="02040502050405020303" pitchFamily="18" charset="0"/>
                <a:ea typeface="ＭＳ Ｐ明朝" panose="02020600040205080304" pitchFamily="18" charset="-128"/>
              </a:rPr>
              <a:t>54</a:t>
            </a:r>
            <a:r>
              <a:rPr lang="ja-JP" altLang="en-US" sz="1600" b="1" u="sng" dirty="0">
                <a:solidFill>
                  <a:srgbClr val="FF0000"/>
                </a:solidFill>
                <a:latin typeface="Georgia" panose="02040502050405020303" pitchFamily="18" charset="0"/>
                <a:ea typeface="ＭＳ Ｐ明朝" panose="02020600040205080304" pitchFamily="18" charset="-128"/>
              </a:rPr>
              <a:t>年</a:t>
            </a:r>
            <a:r>
              <a:rPr lang="en-US" altLang="ja-JP" sz="1600" b="1" u="sng" dirty="0">
                <a:solidFill>
                  <a:srgbClr val="FF0000"/>
                </a:solidFill>
                <a:latin typeface="Georgia" panose="02040502050405020303" pitchFamily="18" charset="0"/>
                <a:ea typeface="ＭＳ Ｐ明朝" panose="02020600040205080304" pitchFamily="18" charset="-128"/>
              </a:rPr>
              <a:t>7</a:t>
            </a:r>
            <a:r>
              <a:rPr lang="ja-JP" altLang="en-US" sz="1600" b="1" u="sng" dirty="0">
                <a:solidFill>
                  <a:srgbClr val="FF0000"/>
                </a:solidFill>
                <a:latin typeface="Georgia" panose="02040502050405020303" pitchFamily="18" charset="0"/>
                <a:ea typeface="ＭＳ Ｐ明朝" panose="02020600040205080304" pitchFamily="18" charset="-128"/>
              </a:rPr>
              <a:t>月</a:t>
            </a:r>
            <a:r>
              <a:rPr lang="ja-JP" altLang="en-US" sz="1600" b="1" u="sng" dirty="0">
                <a:solidFill>
                  <a:srgbClr val="FF0000"/>
                </a:solidFill>
                <a:latin typeface="ＭＳ Ｐ明朝" panose="02020600040205080304" pitchFamily="18" charset="-128"/>
                <a:ea typeface="ＭＳ Ｐ明朝" panose="02020600040205080304" pitchFamily="18" charset="-128"/>
              </a:rPr>
              <a:t>に誕生</a:t>
            </a:r>
            <a:r>
              <a:rPr lang="ja-JP" altLang="en-US" sz="1600" dirty="0">
                <a:latin typeface="ＭＳ Ｐ明朝" panose="02020600040205080304" pitchFamily="18" charset="-128"/>
                <a:ea typeface="ＭＳ Ｐ明朝" panose="02020600040205080304" pitchFamily="18" charset="-128"/>
              </a:rPr>
              <a:t>した下地島空港は、我が国の民間航空会社のパイロット育成に大きく貢献してきましたが、</a:t>
            </a:r>
            <a:r>
              <a:rPr lang="ja-JP" altLang="en-US" sz="1600" b="1" u="sng" dirty="0">
                <a:solidFill>
                  <a:srgbClr val="FF0000"/>
                </a:solidFill>
                <a:latin typeface="ＭＳ Ｐ明朝" panose="02020600040205080304" pitchFamily="18" charset="-128"/>
                <a:ea typeface="ＭＳ Ｐ明朝" panose="02020600040205080304" pitchFamily="18" charset="-128"/>
              </a:rPr>
              <a:t>シミュレーター訓練の進展等により実機訓練が減少</a:t>
            </a:r>
            <a:r>
              <a:rPr lang="ja-JP" altLang="en-US" sz="1600" dirty="0">
                <a:latin typeface="ＭＳ Ｐ明朝" panose="02020600040205080304" pitchFamily="18" charset="-128"/>
                <a:ea typeface="ＭＳ Ｐ明朝" panose="02020600040205080304" pitchFamily="18" charset="-128"/>
              </a:rPr>
              <a:t>したことから、</a:t>
            </a:r>
            <a:r>
              <a:rPr lang="ja-JP" altLang="en-US" sz="1600" b="1" u="sng" dirty="0">
                <a:solidFill>
                  <a:srgbClr val="FF0000"/>
                </a:solidFill>
                <a:latin typeface="ＭＳ Ｐ明朝" panose="02020600040205080304" pitchFamily="18" charset="-128"/>
                <a:ea typeface="ＭＳ Ｐ明朝" panose="02020600040205080304" pitchFamily="18" charset="-128"/>
              </a:rPr>
              <a:t>新たな利活用が求められてきました。</a:t>
            </a:r>
            <a:endParaRPr lang="en-US" altLang="ja-JP" sz="1600" b="1" u="sng" dirty="0">
              <a:solidFill>
                <a:srgbClr val="FF0000"/>
              </a:solidFill>
              <a:latin typeface="ＭＳ Ｐ明朝" panose="02020600040205080304" pitchFamily="18" charset="-128"/>
              <a:ea typeface="ＭＳ Ｐ明朝" panose="02020600040205080304" pitchFamily="18" charset="-128"/>
            </a:endParaRPr>
          </a:p>
          <a:p>
            <a:pPr>
              <a:lnSpc>
                <a:spcPct val="150000"/>
              </a:lnSpc>
            </a:pPr>
            <a:endParaRPr lang="en-US" altLang="ja-JP" sz="1600" b="1" u="sng" dirty="0">
              <a:solidFill>
                <a:srgbClr val="FF0000"/>
              </a:solidFill>
              <a:latin typeface="ＭＳ Ｐ明朝" panose="02020600040205080304" pitchFamily="18" charset="-128"/>
              <a:ea typeface="ＭＳ Ｐ明朝" panose="02020600040205080304" pitchFamily="18" charset="-128"/>
            </a:endParaRPr>
          </a:p>
          <a:p>
            <a:pPr marL="285750" indent="-285750">
              <a:lnSpc>
                <a:spcPct val="150000"/>
              </a:lnSpc>
              <a:buFont typeface="Arial" panose="020B0604020202020204" pitchFamily="34" charset="0"/>
              <a:buChar char="•"/>
            </a:pPr>
            <a:r>
              <a:rPr lang="ja-JP" altLang="en-US" sz="1600" dirty="0">
                <a:latin typeface="ＭＳ Ｐ明朝" panose="02020600040205080304" pitchFamily="18" charset="-128"/>
                <a:ea typeface="ＭＳ Ｐ明朝" panose="02020600040205080304" pitchFamily="18" charset="-128"/>
              </a:rPr>
              <a:t>そこで、沖縄県では、</a:t>
            </a:r>
            <a:r>
              <a:rPr lang="ja-JP" altLang="en-US" sz="1600" b="1" u="sng" dirty="0">
                <a:solidFill>
                  <a:srgbClr val="FF0000"/>
                </a:solidFill>
                <a:latin typeface="ＭＳ Ｐ明朝" panose="02020600040205080304" pitchFamily="18" charset="-128"/>
                <a:ea typeface="ＭＳ Ｐ明朝" panose="02020600040205080304" pitchFamily="18" charset="-128"/>
              </a:rPr>
              <a:t>下地島空港の高度な空港機能と、広大な周辺公有地の有効活用を図るため</a:t>
            </a:r>
            <a:r>
              <a:rPr lang="ja-JP" altLang="en-US" sz="1600" dirty="0">
                <a:latin typeface="ＭＳ Ｐ明朝" panose="02020600040205080304" pitchFamily="18" charset="-128"/>
                <a:ea typeface="ＭＳ Ｐ明朝" panose="02020600040205080304" pitchFamily="18" charset="-128"/>
              </a:rPr>
              <a:t>、平成</a:t>
            </a:r>
            <a:r>
              <a:rPr lang="en-US" altLang="ja-JP" sz="1600" dirty="0">
                <a:latin typeface="ＭＳ Ｐ明朝" panose="02020600040205080304" pitchFamily="18" charset="-128"/>
                <a:ea typeface="ＭＳ Ｐ明朝" panose="02020600040205080304" pitchFamily="18" charset="-128"/>
              </a:rPr>
              <a:t>27</a:t>
            </a:r>
            <a:r>
              <a:rPr lang="ja-JP" altLang="en-US" sz="1600" dirty="0">
                <a:latin typeface="ＭＳ Ｐ明朝" panose="02020600040205080304" pitchFamily="18" charset="-128"/>
                <a:ea typeface="ＭＳ Ｐ明朝" panose="02020600040205080304" pitchFamily="18" charset="-128"/>
              </a:rPr>
              <a:t>年度より民間事業者のノウハウ等に基づく</a:t>
            </a:r>
            <a:r>
              <a:rPr lang="zh-TW" altLang="en-US" sz="1600" b="1" u="sng" dirty="0">
                <a:solidFill>
                  <a:srgbClr val="FF0000"/>
                </a:solidFill>
                <a:latin typeface="ＭＳ Ｐ明朝" panose="02020600040205080304" pitchFamily="18" charset="-128"/>
                <a:ea typeface="ＭＳ Ｐ明朝" panose="02020600040205080304" pitchFamily="18" charset="-128"/>
              </a:rPr>
              <a:t>利活用事業（第</a:t>
            </a:r>
            <a:r>
              <a:rPr lang="ja-JP" altLang="en-US" sz="1600" b="1" u="sng" dirty="0">
                <a:solidFill>
                  <a:srgbClr val="FF0000"/>
                </a:solidFill>
                <a:latin typeface="ＭＳ Ｐ明朝" panose="02020600040205080304" pitchFamily="18" charset="-128"/>
                <a:ea typeface="ＭＳ Ｐ明朝" panose="02020600040205080304" pitchFamily="18" charset="-128"/>
              </a:rPr>
              <a:t>１・</a:t>
            </a:r>
            <a:r>
              <a:rPr lang="en-US" altLang="zh-TW" sz="1600" b="1" u="sng" dirty="0">
                <a:solidFill>
                  <a:srgbClr val="FF0000"/>
                </a:solidFill>
                <a:latin typeface="ＭＳ Ｐ明朝" panose="02020600040205080304" pitchFamily="18" charset="-128"/>
                <a:ea typeface="ＭＳ Ｐ明朝" panose="02020600040205080304" pitchFamily="18" charset="-128"/>
              </a:rPr>
              <a:t>2</a:t>
            </a:r>
            <a:r>
              <a:rPr lang="ja-JP" altLang="en-US" sz="1600" b="1" u="sng" dirty="0">
                <a:solidFill>
                  <a:srgbClr val="FF0000"/>
                </a:solidFill>
                <a:latin typeface="ＭＳ Ｐ明朝" panose="02020600040205080304" pitchFamily="18" charset="-128"/>
                <a:ea typeface="ＭＳ Ｐ明朝" panose="02020600040205080304" pitchFamily="18" charset="-128"/>
              </a:rPr>
              <a:t>・</a:t>
            </a:r>
            <a:r>
              <a:rPr lang="en-US" altLang="ja-JP" sz="1600" b="1" u="sng" dirty="0">
                <a:solidFill>
                  <a:srgbClr val="FF0000"/>
                </a:solidFill>
                <a:latin typeface="ＭＳ Ｐ明朝" panose="02020600040205080304" pitchFamily="18" charset="-128"/>
                <a:ea typeface="ＭＳ Ｐ明朝" panose="02020600040205080304" pitchFamily="18" charset="-128"/>
              </a:rPr>
              <a:t>3</a:t>
            </a:r>
            <a:r>
              <a:rPr lang="zh-TW" altLang="en-US" sz="1600" b="1" u="sng" dirty="0">
                <a:solidFill>
                  <a:srgbClr val="FF0000"/>
                </a:solidFill>
                <a:latin typeface="ＭＳ Ｐ明朝" panose="02020600040205080304" pitchFamily="18" charset="-128"/>
                <a:ea typeface="ＭＳ Ｐ明朝" panose="02020600040205080304" pitchFamily="18" charset="-128"/>
              </a:rPr>
              <a:t>期）</a:t>
            </a:r>
            <a:r>
              <a:rPr lang="ja-JP" altLang="en-US" sz="1600" b="1" u="sng" dirty="0">
                <a:solidFill>
                  <a:srgbClr val="FF0000"/>
                </a:solidFill>
                <a:latin typeface="ＭＳ Ｐ明朝" panose="02020600040205080304" pitchFamily="18" charset="-128"/>
                <a:ea typeface="ＭＳ Ｐ明朝" panose="02020600040205080304" pitchFamily="18" charset="-128"/>
              </a:rPr>
              <a:t>を公募し</a:t>
            </a:r>
            <a:r>
              <a:rPr lang="ja-JP" altLang="en-US" sz="1600" dirty="0">
                <a:latin typeface="ＭＳ Ｐ明朝" panose="02020600040205080304" pitchFamily="18" charset="-128"/>
                <a:ea typeface="ＭＳ Ｐ明朝" panose="02020600040205080304" pitchFamily="18" charset="-128"/>
              </a:rPr>
              <a:t>、事業実施に向けた基本合意書を締結して、</a:t>
            </a:r>
            <a:r>
              <a:rPr lang="ja-JP" altLang="en-US" sz="1600" b="1" u="sng" dirty="0">
                <a:solidFill>
                  <a:srgbClr val="FF0000"/>
                </a:solidFill>
                <a:latin typeface="ＭＳ Ｐ明朝" panose="02020600040205080304" pitchFamily="18" charset="-128"/>
                <a:ea typeface="ＭＳ Ｐ明朝" panose="02020600040205080304" pitchFamily="18" charset="-128"/>
              </a:rPr>
              <a:t>平成</a:t>
            </a:r>
            <a:r>
              <a:rPr lang="en-US" altLang="ja-JP" sz="1600" b="1" u="sng" dirty="0">
                <a:solidFill>
                  <a:srgbClr val="FF0000"/>
                </a:solidFill>
                <a:latin typeface="ＭＳ Ｐ明朝" panose="02020600040205080304" pitchFamily="18" charset="-128"/>
                <a:ea typeface="ＭＳ Ｐ明朝" panose="02020600040205080304" pitchFamily="18" charset="-128"/>
              </a:rPr>
              <a:t>31</a:t>
            </a:r>
            <a:r>
              <a:rPr lang="ja-JP" altLang="en-US" sz="1600" b="1" u="sng" dirty="0">
                <a:solidFill>
                  <a:srgbClr val="FF0000"/>
                </a:solidFill>
                <a:latin typeface="ＭＳ Ｐ明朝" panose="02020600040205080304" pitchFamily="18" charset="-128"/>
                <a:ea typeface="ＭＳ Ｐ明朝" panose="02020600040205080304" pitchFamily="18" charset="-128"/>
              </a:rPr>
              <a:t>年にみやこ下地島空港ターミナルが開業</a:t>
            </a:r>
            <a:r>
              <a:rPr lang="ja-JP" altLang="en-US" sz="1600" dirty="0">
                <a:latin typeface="ＭＳ Ｐ明朝" panose="02020600040205080304" pitchFamily="18" charset="-128"/>
                <a:ea typeface="ＭＳ Ｐ明朝" panose="02020600040205080304" pitchFamily="18" charset="-128"/>
              </a:rPr>
              <a:t>しています。</a:t>
            </a:r>
            <a:endParaRPr lang="en-US" altLang="ja-JP" sz="1600" dirty="0">
              <a:latin typeface="ＭＳ Ｐ明朝" panose="02020600040205080304" pitchFamily="18" charset="-128"/>
              <a:ea typeface="ＭＳ Ｐ明朝" panose="02020600040205080304" pitchFamily="18" charset="-128"/>
            </a:endParaRPr>
          </a:p>
          <a:p>
            <a:pPr>
              <a:lnSpc>
                <a:spcPct val="150000"/>
              </a:lnSpc>
            </a:pPr>
            <a:endParaRPr lang="en-US" altLang="ja-JP" sz="1600" dirty="0">
              <a:latin typeface="ＭＳ Ｐ明朝" panose="02020600040205080304" pitchFamily="18" charset="-128"/>
              <a:ea typeface="ＭＳ Ｐ明朝" panose="02020600040205080304" pitchFamily="18" charset="-128"/>
            </a:endParaRPr>
          </a:p>
          <a:p>
            <a:pPr marL="285750" indent="-285750">
              <a:lnSpc>
                <a:spcPct val="150000"/>
              </a:lnSpc>
              <a:buFont typeface="Arial" panose="020B0604020202020204" pitchFamily="34" charset="0"/>
              <a:buChar char="•"/>
            </a:pPr>
            <a:r>
              <a:rPr lang="ja-JP" altLang="en-US" sz="1600" b="1" u="sng" dirty="0">
                <a:solidFill>
                  <a:srgbClr val="FF0000"/>
                </a:solidFill>
                <a:latin typeface="ＭＳ Ｐ明朝" panose="02020600040205080304" pitchFamily="18" charset="-128"/>
                <a:ea typeface="ＭＳ Ｐ明朝" panose="02020600040205080304" pitchFamily="18" charset="-128"/>
              </a:rPr>
              <a:t>今後、第</a:t>
            </a:r>
            <a:r>
              <a:rPr lang="en-US" altLang="ja-JP" sz="1600" b="1" u="sng" dirty="0">
                <a:solidFill>
                  <a:srgbClr val="FF0000"/>
                </a:solidFill>
                <a:latin typeface="ＭＳ Ｐ明朝" panose="02020600040205080304" pitchFamily="18" charset="-128"/>
                <a:ea typeface="ＭＳ Ｐ明朝" panose="02020600040205080304" pitchFamily="18" charset="-128"/>
              </a:rPr>
              <a:t>4</a:t>
            </a:r>
            <a:r>
              <a:rPr lang="ja-JP" altLang="en-US" sz="1600" b="1" u="sng" dirty="0">
                <a:solidFill>
                  <a:srgbClr val="FF0000"/>
                </a:solidFill>
                <a:latin typeface="ＭＳ Ｐ明朝" panose="02020600040205080304" pitchFamily="18" charset="-128"/>
                <a:ea typeface="ＭＳ Ｐ明朝" panose="02020600040205080304" pitchFamily="18" charset="-128"/>
              </a:rPr>
              <a:t>期の公募を予定しております。</a:t>
            </a:r>
            <a:endParaRPr lang="en-US" altLang="ja-JP" sz="1600" b="1" u="sng" dirty="0">
              <a:solidFill>
                <a:srgbClr val="FF0000"/>
              </a:solidFill>
              <a:latin typeface="ＭＳ Ｐ明朝" panose="02020600040205080304" pitchFamily="18" charset="-128"/>
              <a:ea typeface="ＭＳ Ｐ明朝" panose="02020600040205080304" pitchFamily="18" charset="-128"/>
            </a:endParaRPr>
          </a:p>
        </p:txBody>
      </p:sp>
      <p:sp>
        <p:nvSpPr>
          <p:cNvPr id="8" name="正方形/長方形 7"/>
          <p:cNvSpPr/>
          <p:nvPr/>
        </p:nvSpPr>
        <p:spPr>
          <a:xfrm>
            <a:off x="481191" y="786190"/>
            <a:ext cx="2286000" cy="338554"/>
          </a:xfrm>
          <a:prstGeom prst="rect">
            <a:avLst/>
          </a:prstGeom>
        </p:spPr>
        <p:txBody>
          <a:bodyPr wrap="square">
            <a:spAutoFit/>
          </a:bodyPr>
          <a:lstStyle/>
          <a:p>
            <a:r>
              <a:rPr lang="ja-JP" altLang="en-US" sz="1600" b="1" dirty="0">
                <a:solidFill>
                  <a:schemeClr val="accent5">
                    <a:lumMod val="75000"/>
                  </a:schemeClr>
                </a:solidFill>
                <a:latin typeface="HG明朝E" panose="02020909000000000000" pitchFamily="17" charset="-128"/>
                <a:ea typeface="HG明朝E" panose="02020909000000000000" pitchFamily="17" charset="-128"/>
              </a:rPr>
              <a:t>下地島空港の状況</a:t>
            </a:r>
            <a:endParaRPr lang="en-GB" sz="1600" b="1" dirty="0">
              <a:solidFill>
                <a:schemeClr val="accent5">
                  <a:lumMod val="75000"/>
                </a:schemeClr>
              </a:solidFill>
              <a:latin typeface="HG明朝E" panose="02020909000000000000" pitchFamily="17" charset="-128"/>
              <a:ea typeface="HG明朝E" panose="02020909000000000000" pitchFamily="17" charset="-128"/>
            </a:endParaRPr>
          </a:p>
        </p:txBody>
      </p:sp>
      <p:sp>
        <p:nvSpPr>
          <p:cNvPr id="2" name="スライド番号プレースホルダー 1"/>
          <p:cNvSpPr>
            <a:spLocks noGrp="1"/>
          </p:cNvSpPr>
          <p:nvPr>
            <p:ph type="sldNum" sz="quarter" idx="4"/>
          </p:nvPr>
        </p:nvSpPr>
        <p:spPr/>
        <p:txBody>
          <a:bodyPr/>
          <a:lstStyle/>
          <a:p>
            <a:fld id="{9EBD5762-3BDC-484D-9503-7EA6D5A9A8CE}" type="slidenum">
              <a:rPr lang="en-US" altLang="ja-JP" smtClean="0">
                <a:solidFill>
                  <a:srgbClr val="000000"/>
                </a:solidFill>
              </a:rPr>
              <a:pPr/>
              <a:t>2</a:t>
            </a:fld>
            <a:endParaRPr lang="ja-JP" altLang="en-US">
              <a:solidFill>
                <a:srgbClr val="000000"/>
              </a:solidFill>
            </a:endParaRPr>
          </a:p>
        </p:txBody>
      </p:sp>
      <p:sp>
        <p:nvSpPr>
          <p:cNvPr id="9" name="正方形/長方形 8"/>
          <p:cNvSpPr/>
          <p:nvPr/>
        </p:nvSpPr>
        <p:spPr>
          <a:xfrm>
            <a:off x="8158201" y="3560567"/>
            <a:ext cx="892097" cy="200055"/>
          </a:xfrm>
          <a:prstGeom prst="rect">
            <a:avLst/>
          </a:prstGeom>
        </p:spPr>
        <p:txBody>
          <a:bodyPr wrap="square">
            <a:spAutoFit/>
          </a:bodyPr>
          <a:lstStyle/>
          <a:p>
            <a:r>
              <a:rPr lang="ja-JP" altLang="en-US" sz="700" dirty="0">
                <a:latin typeface="ＭＳ Ｐ明朝" panose="02020600040205080304" pitchFamily="18" charset="-128"/>
                <a:ea typeface="ＭＳ Ｐ明朝" panose="02020600040205080304" pitchFamily="18" charset="-128"/>
              </a:rPr>
              <a:t>出所：沖縄県</a:t>
            </a:r>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436096" y="836712"/>
            <a:ext cx="3314700" cy="26860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図 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436096" y="3810711"/>
            <a:ext cx="1986558" cy="1480806"/>
          </a:xfrm>
          <a:prstGeom prst="rect">
            <a:avLst/>
          </a:prstGeom>
        </p:spPr>
      </p:pic>
      <p:pic>
        <p:nvPicPr>
          <p:cNvPr id="6" name="図 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948264" y="4664641"/>
            <a:ext cx="1794942" cy="1356647"/>
          </a:xfrm>
          <a:prstGeom prst="rect">
            <a:avLst/>
          </a:prstGeom>
          <a:ln w="19050">
            <a:solidFill>
              <a:schemeClr val="bg1"/>
            </a:solidFill>
          </a:ln>
        </p:spPr>
      </p:pic>
      <p:sp>
        <p:nvSpPr>
          <p:cNvPr id="15" name="正方形/長方形 14"/>
          <p:cNvSpPr/>
          <p:nvPr/>
        </p:nvSpPr>
        <p:spPr>
          <a:xfrm>
            <a:off x="8158200" y="6048344"/>
            <a:ext cx="892097" cy="200055"/>
          </a:xfrm>
          <a:prstGeom prst="rect">
            <a:avLst/>
          </a:prstGeom>
        </p:spPr>
        <p:txBody>
          <a:bodyPr wrap="square">
            <a:spAutoFit/>
          </a:bodyPr>
          <a:lstStyle/>
          <a:p>
            <a:r>
              <a:rPr lang="ja-JP" altLang="en-US" sz="700" dirty="0">
                <a:latin typeface="ＭＳ Ｐ明朝" panose="02020600040205080304" pitchFamily="18" charset="-128"/>
                <a:ea typeface="ＭＳ Ｐ明朝" panose="02020600040205080304" pitchFamily="18" charset="-128"/>
              </a:rPr>
              <a:t>出所：</a:t>
            </a:r>
            <a:r>
              <a:rPr lang="en-US" altLang="ja-JP" sz="700" dirty="0">
                <a:latin typeface="ＭＳ Ｐ明朝" panose="02020600040205080304" pitchFamily="18" charset="-128"/>
                <a:ea typeface="ＭＳ Ｐ明朝" panose="02020600040205080304" pitchFamily="18" charset="-128"/>
              </a:rPr>
              <a:t>OCVB</a:t>
            </a:r>
            <a:endParaRPr lang="ja-JP" altLang="en-US" sz="700" dirty="0">
              <a:latin typeface="ＭＳ Ｐ明朝" panose="02020600040205080304" pitchFamily="18" charset="-128"/>
              <a:ea typeface="ＭＳ Ｐ明朝" panose="02020600040205080304" pitchFamily="18" charset="-128"/>
            </a:endParaRPr>
          </a:p>
        </p:txBody>
      </p:sp>
    </p:spTree>
    <p:extLst>
      <p:ext uri="{BB962C8B-B14F-4D97-AF65-F5344CB8AC3E}">
        <p14:creationId xmlns:p14="http://schemas.microsoft.com/office/powerpoint/2010/main" val="34092311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1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7710" y="2091320"/>
            <a:ext cx="5130376" cy="41459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8" name="Group 32"/>
          <p:cNvGrpSpPr>
            <a:grpSpLocks/>
          </p:cNvGrpSpPr>
          <p:nvPr/>
        </p:nvGrpSpPr>
        <p:grpSpPr bwMode="auto">
          <a:xfrm>
            <a:off x="2349473" y="3240778"/>
            <a:ext cx="1654923" cy="1347032"/>
            <a:chOff x="2528" y="1718"/>
            <a:chExt cx="1429" cy="1184"/>
          </a:xfrm>
        </p:grpSpPr>
        <p:sp>
          <p:nvSpPr>
            <p:cNvPr id="50" name="Oval 27"/>
            <p:cNvSpPr>
              <a:spLocks noChangeArrowheads="1"/>
            </p:cNvSpPr>
            <p:nvPr/>
          </p:nvSpPr>
          <p:spPr bwMode="auto">
            <a:xfrm>
              <a:off x="2719" y="1718"/>
              <a:ext cx="1238" cy="1184"/>
            </a:xfrm>
            <a:prstGeom prst="ellipse">
              <a:avLst/>
            </a:prstGeom>
            <a:noFill/>
            <a:ln w="12700">
              <a:solidFill>
                <a:srgbClr val="80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dirty="0">
                <a:latin typeface="Georgia" panose="02040502050405020303" pitchFamily="18" charset="0"/>
                <a:ea typeface="ＭＳ Ｐ明朝" panose="02020600040205080304" pitchFamily="18" charset="-128"/>
              </a:endParaRPr>
            </a:p>
          </p:txBody>
        </p:sp>
        <p:sp>
          <p:nvSpPr>
            <p:cNvPr id="51" name="Text Box 13"/>
            <p:cNvSpPr txBox="1">
              <a:spLocks noChangeArrowheads="1"/>
            </p:cNvSpPr>
            <p:nvPr/>
          </p:nvSpPr>
          <p:spPr bwMode="auto">
            <a:xfrm>
              <a:off x="2528" y="2020"/>
              <a:ext cx="506" cy="135"/>
            </a:xfrm>
            <a:prstGeom prst="rect">
              <a:avLst/>
            </a:prstGeom>
            <a:solidFill>
              <a:schemeClr val="bg1"/>
            </a:solidFill>
            <a:ln w="0">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ctr">
                <a:spcBef>
                  <a:spcPct val="50000"/>
                </a:spcBef>
              </a:pPr>
              <a:r>
                <a:rPr lang="en-US" altLang="ja-JP" sz="1000" dirty="0">
                  <a:solidFill>
                    <a:srgbClr val="990000"/>
                  </a:solidFill>
                  <a:latin typeface="Georgia" panose="02040502050405020303" pitchFamily="18" charset="0"/>
                  <a:ea typeface="ＭＳ Ｐ明朝" panose="02020600040205080304" pitchFamily="18" charset="-128"/>
                </a:rPr>
                <a:t>1</a:t>
              </a:r>
              <a:r>
                <a:rPr lang="ja-JP" altLang="en-US" sz="1000" dirty="0" err="1">
                  <a:solidFill>
                    <a:srgbClr val="990000"/>
                  </a:solidFill>
                  <a:latin typeface="Georgia" panose="02040502050405020303" pitchFamily="18" charset="0"/>
                  <a:ea typeface="ＭＳ Ｐ明朝" panose="02020600040205080304" pitchFamily="18" charset="-128"/>
                </a:rPr>
                <a:t>，</a:t>
              </a:r>
              <a:r>
                <a:rPr lang="en-US" altLang="ja-JP" sz="1000" dirty="0">
                  <a:solidFill>
                    <a:srgbClr val="990000"/>
                  </a:solidFill>
                  <a:latin typeface="Georgia" panose="02040502050405020303" pitchFamily="18" charset="0"/>
                  <a:ea typeface="ＭＳ Ｐ明朝" panose="02020600040205080304" pitchFamily="18" charset="-128"/>
                </a:rPr>
                <a:t>000km</a:t>
              </a:r>
            </a:p>
          </p:txBody>
        </p:sp>
      </p:grpSp>
      <p:grpSp>
        <p:nvGrpSpPr>
          <p:cNvPr id="39" name="Group 33"/>
          <p:cNvGrpSpPr>
            <a:grpSpLocks/>
          </p:cNvGrpSpPr>
          <p:nvPr/>
        </p:nvGrpSpPr>
        <p:grpSpPr bwMode="auto">
          <a:xfrm>
            <a:off x="1831568" y="2789945"/>
            <a:ext cx="2655724" cy="2261684"/>
            <a:chOff x="2113" y="1342"/>
            <a:chExt cx="2274" cy="1942"/>
          </a:xfrm>
        </p:grpSpPr>
        <p:sp>
          <p:nvSpPr>
            <p:cNvPr id="48" name="Oval 28"/>
            <p:cNvSpPr>
              <a:spLocks noChangeArrowheads="1"/>
            </p:cNvSpPr>
            <p:nvPr/>
          </p:nvSpPr>
          <p:spPr bwMode="auto">
            <a:xfrm>
              <a:off x="2335" y="1342"/>
              <a:ext cx="2052" cy="1942"/>
            </a:xfrm>
            <a:prstGeom prst="ellipse">
              <a:avLst/>
            </a:prstGeom>
            <a:noFill/>
            <a:ln w="12700">
              <a:solidFill>
                <a:srgbClr val="80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a:latin typeface="Georgia" panose="02040502050405020303" pitchFamily="18" charset="0"/>
                <a:ea typeface="ＭＳ Ｐ明朝" panose="02020600040205080304" pitchFamily="18" charset="-128"/>
              </a:endParaRPr>
            </a:p>
          </p:txBody>
        </p:sp>
        <p:sp>
          <p:nvSpPr>
            <p:cNvPr id="49" name="Text Box 14"/>
            <p:cNvSpPr txBox="1">
              <a:spLocks noChangeArrowheads="1"/>
            </p:cNvSpPr>
            <p:nvPr/>
          </p:nvSpPr>
          <p:spPr bwMode="auto">
            <a:xfrm>
              <a:off x="2113" y="2261"/>
              <a:ext cx="543" cy="132"/>
            </a:xfrm>
            <a:prstGeom prst="rect">
              <a:avLst/>
            </a:prstGeom>
            <a:solidFill>
              <a:schemeClr val="bg1"/>
            </a:solidFill>
            <a:ln>
              <a:noFill/>
            </a:ln>
            <a:effectLst/>
            <a:extLs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ctr">
                <a:spcBef>
                  <a:spcPct val="50000"/>
                </a:spcBef>
              </a:pPr>
              <a:r>
                <a:rPr lang="en-US" altLang="ja-JP" sz="1000" dirty="0">
                  <a:solidFill>
                    <a:srgbClr val="990000"/>
                  </a:solidFill>
                  <a:latin typeface="Georgia" panose="02040502050405020303" pitchFamily="18" charset="0"/>
                  <a:ea typeface="ＭＳ Ｐ明朝" panose="02020600040205080304" pitchFamily="18" charset="-128"/>
                </a:rPr>
                <a:t>1</a:t>
              </a:r>
              <a:r>
                <a:rPr lang="ja-JP" altLang="en-US" sz="1000" dirty="0" err="1">
                  <a:solidFill>
                    <a:srgbClr val="990000"/>
                  </a:solidFill>
                  <a:latin typeface="Georgia" panose="02040502050405020303" pitchFamily="18" charset="0"/>
                  <a:ea typeface="ＭＳ Ｐ明朝" panose="02020600040205080304" pitchFamily="18" charset="-128"/>
                </a:rPr>
                <a:t>，</a:t>
              </a:r>
              <a:r>
                <a:rPr lang="en-US" altLang="ja-JP" sz="1000" dirty="0">
                  <a:solidFill>
                    <a:srgbClr val="990000"/>
                  </a:solidFill>
                  <a:latin typeface="Georgia" panose="02040502050405020303" pitchFamily="18" charset="0"/>
                  <a:ea typeface="ＭＳ Ｐ明朝" panose="02020600040205080304" pitchFamily="18" charset="-128"/>
                </a:rPr>
                <a:t>700km</a:t>
              </a:r>
            </a:p>
          </p:txBody>
        </p:sp>
      </p:grpSp>
      <p:grpSp>
        <p:nvGrpSpPr>
          <p:cNvPr id="41" name="Group 34"/>
          <p:cNvGrpSpPr>
            <a:grpSpLocks/>
          </p:cNvGrpSpPr>
          <p:nvPr/>
        </p:nvGrpSpPr>
        <p:grpSpPr bwMode="auto">
          <a:xfrm>
            <a:off x="1401397" y="2501745"/>
            <a:ext cx="3366592" cy="2832709"/>
            <a:chOff x="1722" y="1078"/>
            <a:chExt cx="2907" cy="2446"/>
          </a:xfrm>
        </p:grpSpPr>
        <p:sp>
          <p:nvSpPr>
            <p:cNvPr id="46" name="Oval 29"/>
            <p:cNvSpPr>
              <a:spLocks noChangeArrowheads="1"/>
            </p:cNvSpPr>
            <p:nvPr/>
          </p:nvSpPr>
          <p:spPr bwMode="auto">
            <a:xfrm>
              <a:off x="2073" y="1078"/>
              <a:ext cx="2556" cy="2446"/>
            </a:xfrm>
            <a:prstGeom prst="ellipse">
              <a:avLst/>
            </a:prstGeom>
            <a:noFill/>
            <a:ln w="12700">
              <a:solidFill>
                <a:srgbClr val="80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a:latin typeface="Georgia" panose="02040502050405020303" pitchFamily="18" charset="0"/>
                <a:ea typeface="ＭＳ Ｐ明朝" panose="02020600040205080304" pitchFamily="18" charset="-128"/>
              </a:endParaRPr>
            </a:p>
          </p:txBody>
        </p:sp>
        <p:sp>
          <p:nvSpPr>
            <p:cNvPr id="47" name="Text Box 15"/>
            <p:cNvSpPr txBox="1">
              <a:spLocks noChangeArrowheads="1"/>
            </p:cNvSpPr>
            <p:nvPr/>
          </p:nvSpPr>
          <p:spPr bwMode="auto">
            <a:xfrm>
              <a:off x="1722" y="2013"/>
              <a:ext cx="536" cy="138"/>
            </a:xfrm>
            <a:prstGeom prst="rect">
              <a:avLst/>
            </a:prstGeom>
            <a:solidFill>
              <a:schemeClr val="bg1"/>
            </a:solidFill>
            <a:ln>
              <a:noFill/>
            </a:ln>
            <a:effectLst/>
            <a:extLs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ctr">
                <a:spcBef>
                  <a:spcPct val="50000"/>
                </a:spcBef>
              </a:pPr>
              <a:r>
                <a:rPr lang="en-US" altLang="ja-JP" sz="1000" dirty="0">
                  <a:solidFill>
                    <a:srgbClr val="990000"/>
                  </a:solidFill>
                  <a:latin typeface="Georgia" panose="02040502050405020303" pitchFamily="18" charset="0"/>
                  <a:ea typeface="ＭＳ Ｐ明朝" panose="02020600040205080304" pitchFamily="18" charset="-128"/>
                </a:rPr>
                <a:t>2</a:t>
              </a:r>
              <a:r>
                <a:rPr lang="ja-JP" altLang="en-US" sz="1000" dirty="0" err="1">
                  <a:solidFill>
                    <a:srgbClr val="990000"/>
                  </a:solidFill>
                  <a:latin typeface="Georgia" panose="02040502050405020303" pitchFamily="18" charset="0"/>
                  <a:ea typeface="ＭＳ Ｐ明朝" panose="02020600040205080304" pitchFamily="18" charset="-128"/>
                </a:rPr>
                <a:t>，</a:t>
              </a:r>
              <a:r>
                <a:rPr lang="en-US" altLang="ja-JP" sz="1000" dirty="0">
                  <a:solidFill>
                    <a:srgbClr val="990000"/>
                  </a:solidFill>
                  <a:latin typeface="Georgia" panose="02040502050405020303" pitchFamily="18" charset="0"/>
                  <a:ea typeface="ＭＳ Ｐ明朝" panose="02020600040205080304" pitchFamily="18" charset="-128"/>
                </a:rPr>
                <a:t>000km</a:t>
              </a:r>
            </a:p>
          </p:txBody>
        </p:sp>
      </p:grpSp>
      <p:grpSp>
        <p:nvGrpSpPr>
          <p:cNvPr id="42" name="Group 35"/>
          <p:cNvGrpSpPr>
            <a:grpSpLocks/>
          </p:cNvGrpSpPr>
          <p:nvPr/>
        </p:nvGrpSpPr>
        <p:grpSpPr bwMode="auto">
          <a:xfrm>
            <a:off x="632732" y="1628800"/>
            <a:ext cx="5065523" cy="4548292"/>
            <a:chOff x="1055" y="395"/>
            <a:chExt cx="4374" cy="3865"/>
          </a:xfrm>
        </p:grpSpPr>
        <p:sp>
          <p:nvSpPr>
            <p:cNvPr id="44" name="Oval 30"/>
            <p:cNvSpPr>
              <a:spLocks noChangeArrowheads="1"/>
            </p:cNvSpPr>
            <p:nvPr/>
          </p:nvSpPr>
          <p:spPr bwMode="auto">
            <a:xfrm>
              <a:off x="1273" y="395"/>
              <a:ext cx="4156" cy="3865"/>
            </a:xfrm>
            <a:prstGeom prst="ellipse">
              <a:avLst/>
            </a:prstGeom>
            <a:noFill/>
            <a:ln w="12700">
              <a:solidFill>
                <a:srgbClr val="80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a:latin typeface="Georgia" panose="02040502050405020303" pitchFamily="18" charset="0"/>
                <a:ea typeface="ＭＳ Ｐ明朝" panose="02020600040205080304" pitchFamily="18" charset="-128"/>
              </a:endParaRPr>
            </a:p>
          </p:txBody>
        </p:sp>
        <p:sp>
          <p:nvSpPr>
            <p:cNvPr id="45" name="Text Box 16"/>
            <p:cNvSpPr txBox="1">
              <a:spLocks noChangeArrowheads="1"/>
            </p:cNvSpPr>
            <p:nvPr/>
          </p:nvSpPr>
          <p:spPr bwMode="auto">
            <a:xfrm>
              <a:off x="1055" y="2010"/>
              <a:ext cx="506" cy="131"/>
            </a:xfrm>
            <a:prstGeom prst="rect">
              <a:avLst/>
            </a:prstGeom>
            <a:solidFill>
              <a:schemeClr val="bg1"/>
            </a:solidFill>
            <a:ln>
              <a:noFill/>
            </a:ln>
            <a:effectLst/>
            <a:extLs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ctr">
                <a:spcBef>
                  <a:spcPct val="50000"/>
                </a:spcBef>
              </a:pPr>
              <a:r>
                <a:rPr lang="en-US" altLang="ja-JP" sz="1000" dirty="0">
                  <a:solidFill>
                    <a:srgbClr val="990000"/>
                  </a:solidFill>
                  <a:latin typeface="Georgia" panose="02040502050405020303" pitchFamily="18" charset="0"/>
                  <a:ea typeface="ＭＳ Ｐ明朝" panose="02020600040205080304" pitchFamily="18" charset="-128"/>
                </a:rPr>
                <a:t>3</a:t>
              </a:r>
              <a:r>
                <a:rPr lang="ja-JP" altLang="en-US" sz="1000" dirty="0" err="1">
                  <a:solidFill>
                    <a:srgbClr val="990000"/>
                  </a:solidFill>
                  <a:latin typeface="Georgia" panose="02040502050405020303" pitchFamily="18" charset="0"/>
                  <a:ea typeface="ＭＳ Ｐ明朝" panose="02020600040205080304" pitchFamily="18" charset="-128"/>
                </a:rPr>
                <a:t>，</a:t>
              </a:r>
              <a:r>
                <a:rPr lang="en-US" altLang="ja-JP" sz="1000" dirty="0">
                  <a:solidFill>
                    <a:srgbClr val="990000"/>
                  </a:solidFill>
                  <a:latin typeface="Georgia" panose="02040502050405020303" pitchFamily="18" charset="0"/>
                  <a:ea typeface="ＭＳ Ｐ明朝" panose="02020600040205080304" pitchFamily="18" charset="-128"/>
                </a:rPr>
                <a:t>000km</a:t>
              </a:r>
            </a:p>
          </p:txBody>
        </p:sp>
      </p:grpSp>
      <p:sp>
        <p:nvSpPr>
          <p:cNvPr id="43" name="Rectangle 31"/>
          <p:cNvSpPr>
            <a:spLocks noChangeArrowheads="1"/>
          </p:cNvSpPr>
          <p:nvPr/>
        </p:nvSpPr>
        <p:spPr bwMode="auto">
          <a:xfrm>
            <a:off x="5432699" y="2809341"/>
            <a:ext cx="435445" cy="2464433"/>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a:latin typeface="Georgia" panose="02040502050405020303" pitchFamily="18" charset="0"/>
              <a:ea typeface="ＭＳ Ｐ明朝" panose="02020600040205080304" pitchFamily="18" charset="-128"/>
            </a:endParaRPr>
          </a:p>
        </p:txBody>
      </p:sp>
      <p:grpSp>
        <p:nvGrpSpPr>
          <p:cNvPr id="14" name="グループ化 13"/>
          <p:cNvGrpSpPr/>
          <p:nvPr/>
        </p:nvGrpSpPr>
        <p:grpSpPr>
          <a:xfrm>
            <a:off x="5553735" y="1987490"/>
            <a:ext cx="3343419" cy="1730891"/>
            <a:chOff x="5580112" y="1988840"/>
            <a:chExt cx="3343419" cy="2004463"/>
          </a:xfrm>
        </p:grpSpPr>
        <p:pic>
          <p:nvPicPr>
            <p:cNvPr id="2053" name="Picture 5"/>
            <p:cNvPicPr>
              <a:picLocks noChangeAspect="1" noChangeArrowheads="1"/>
            </p:cNvPicPr>
            <p:nvPr/>
          </p:nvPicPr>
          <p:blipFill rotWithShape="1">
            <a:blip r:embed="rId4">
              <a:extLst>
                <a:ext uri="{28A0092B-C50C-407E-A947-70E740481C1C}">
                  <a14:useLocalDpi xmlns:a14="http://schemas.microsoft.com/office/drawing/2010/main" val="0"/>
                </a:ext>
              </a:extLst>
            </a:blip>
            <a:srcRect l="16811" t="14673" r="16539" b="14255"/>
            <a:stretch/>
          </p:blipFill>
          <p:spPr bwMode="auto">
            <a:xfrm>
              <a:off x="5580112" y="1988840"/>
              <a:ext cx="3343419" cy="20044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1" name="タイトル 1"/>
            <p:cNvSpPr txBox="1">
              <a:spLocks/>
            </p:cNvSpPr>
            <p:nvPr/>
          </p:nvSpPr>
          <p:spPr>
            <a:xfrm>
              <a:off x="6216742" y="3085276"/>
              <a:ext cx="909569" cy="280842"/>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lvl1pPr algn="l" defTabSz="914400" rtl="0" eaLnBrk="1" latinLnBrk="0" hangingPunct="1">
                <a:lnSpc>
                  <a:spcPct val="100000"/>
                </a:lnSpc>
                <a:spcBef>
                  <a:spcPct val="0"/>
                </a:spcBef>
                <a:buNone/>
                <a:defRPr kumimoji="1" lang="en-GB" altLang="ja-JP" sz="2400" b="1" i="1" kern="1200" baseline="0" noProof="0">
                  <a:solidFill>
                    <a:schemeClr val="tx1"/>
                  </a:solidFill>
                  <a:latin typeface="+mj-lt"/>
                  <a:ea typeface="+mj-ea"/>
                  <a:cs typeface="+mj-cs"/>
                </a:defRPr>
              </a:lvl1pPr>
            </a:lstStyle>
            <a:p>
              <a:pPr marL="177800" indent="-177800" fontAlgn="base" hangingPunct="0">
                <a:spcAft>
                  <a:spcPct val="0"/>
                </a:spcAft>
                <a:buSzPct val="100000"/>
              </a:pPr>
              <a:r>
                <a:rPr kumimoji="0" lang="ja-JP" altLang="en-US" sz="900" i="0" dirty="0">
                  <a:solidFill>
                    <a:srgbClr val="000000"/>
                  </a:solidFill>
                  <a:latin typeface="Georgia" panose="02040502050405020303" pitchFamily="18" charset="0"/>
                  <a:ea typeface="ＭＳ Ｐ明朝" panose="02020600040205080304" pitchFamily="18" charset="-128"/>
                  <a:cs typeface="Arial" charset="0"/>
                </a:rPr>
                <a:t>宮古島市</a:t>
              </a:r>
              <a:endParaRPr kumimoji="0" lang="en-US" sz="900" i="0" dirty="0">
                <a:solidFill>
                  <a:srgbClr val="000000"/>
                </a:solidFill>
                <a:latin typeface="Georgia" panose="02040502050405020303" pitchFamily="18" charset="0"/>
                <a:ea typeface="ＭＳ Ｐ明朝" panose="02020600040205080304" pitchFamily="18" charset="-128"/>
                <a:cs typeface="Arial" charset="0"/>
              </a:endParaRPr>
            </a:p>
          </p:txBody>
        </p:sp>
        <p:sp>
          <p:nvSpPr>
            <p:cNvPr id="4" name="円/楕円 3"/>
            <p:cNvSpPr/>
            <p:nvPr/>
          </p:nvSpPr>
          <p:spPr>
            <a:xfrm>
              <a:off x="6372200" y="3389607"/>
              <a:ext cx="299326" cy="228121"/>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b="1">
                <a:latin typeface="Georgia" panose="02040502050405020303" pitchFamily="18" charset="0"/>
                <a:ea typeface="ＭＳ Ｐ明朝" panose="02020600040205080304" pitchFamily="18" charset="-128"/>
              </a:endParaRPr>
            </a:p>
          </p:txBody>
        </p:sp>
        <p:sp>
          <p:nvSpPr>
            <p:cNvPr id="5" name="正方形/長方形 4"/>
            <p:cNvSpPr/>
            <p:nvPr/>
          </p:nvSpPr>
          <p:spPr>
            <a:xfrm>
              <a:off x="5580112" y="1988840"/>
              <a:ext cx="3343419" cy="200446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b="1">
                <a:latin typeface="Georgia" panose="02040502050405020303" pitchFamily="18" charset="0"/>
                <a:ea typeface="ＭＳ Ｐ明朝" panose="02020600040205080304" pitchFamily="18" charset="-128"/>
              </a:endParaRPr>
            </a:p>
          </p:txBody>
        </p:sp>
      </p:grpSp>
      <p:sp>
        <p:nvSpPr>
          <p:cNvPr id="149" name="正方形/長方形 148"/>
          <p:cNvSpPr/>
          <p:nvPr/>
        </p:nvSpPr>
        <p:spPr>
          <a:xfrm>
            <a:off x="5553735" y="4143642"/>
            <a:ext cx="3343419" cy="255507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Georgia" panose="02040502050405020303" pitchFamily="18" charset="0"/>
              <a:ea typeface="ＭＳ Ｐ明朝" panose="02020600040205080304" pitchFamily="18" charset="-128"/>
            </a:endParaRPr>
          </a:p>
        </p:txBody>
      </p:sp>
      <p:sp>
        <p:nvSpPr>
          <p:cNvPr id="13" name="タイトル 1"/>
          <p:cNvSpPr txBox="1">
            <a:spLocks/>
          </p:cNvSpPr>
          <p:nvPr/>
        </p:nvSpPr>
        <p:spPr>
          <a:xfrm>
            <a:off x="395536" y="235585"/>
            <a:ext cx="8064500" cy="45711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lvl1pPr algn="l" defTabSz="914400" rtl="0" eaLnBrk="1" latinLnBrk="0" hangingPunct="1">
              <a:lnSpc>
                <a:spcPct val="100000"/>
              </a:lnSpc>
              <a:spcBef>
                <a:spcPct val="0"/>
              </a:spcBef>
              <a:buNone/>
              <a:defRPr kumimoji="1" lang="en-GB" altLang="ja-JP" sz="2400" b="1" i="1" kern="1200" baseline="0" noProof="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2000" b="1" i="1" u="none" strike="noStrike" kern="1200" cap="none" spc="0" normalizeH="0" baseline="0" noProof="0" dirty="0">
                <a:ln>
                  <a:noFill/>
                </a:ln>
                <a:solidFill>
                  <a:schemeClr val="tx2">
                    <a:lumMod val="75000"/>
                  </a:schemeClr>
                </a:solidFill>
                <a:effectLst/>
                <a:uLnTx/>
                <a:uFillTx/>
                <a:latin typeface="HGP明朝E"/>
                <a:ea typeface="HGP明朝E"/>
              </a:rPr>
              <a:t>下地島のご紹介</a:t>
            </a:r>
            <a:r>
              <a:rPr kumimoji="1" lang="ja-JP" altLang="en-US" sz="2000" b="1" i="1" u="none" strike="noStrike" kern="1200" cap="none" spc="0" normalizeH="0" noProof="0" dirty="0">
                <a:ln>
                  <a:noFill/>
                </a:ln>
                <a:solidFill>
                  <a:schemeClr val="tx2">
                    <a:lumMod val="75000"/>
                  </a:schemeClr>
                </a:solidFill>
                <a:effectLst/>
                <a:uLnTx/>
                <a:uFillTx/>
                <a:latin typeface="HGP明朝E"/>
                <a:ea typeface="HGP明朝E"/>
              </a:rPr>
              <a:t> </a:t>
            </a:r>
            <a:r>
              <a:rPr kumimoji="1" lang="ja-JP" altLang="en-US" sz="2000" b="1" i="1" u="none" strike="noStrike" kern="1200" cap="none" spc="0" normalizeH="0" baseline="0" noProof="0" dirty="0">
                <a:ln>
                  <a:noFill/>
                </a:ln>
                <a:solidFill>
                  <a:schemeClr val="tx2">
                    <a:lumMod val="75000"/>
                  </a:schemeClr>
                </a:solidFill>
                <a:effectLst/>
                <a:uLnTx/>
                <a:uFillTx/>
                <a:latin typeface="HGP明朝E"/>
                <a:ea typeface="HGP明朝E"/>
              </a:rPr>
              <a:t>①</a:t>
            </a:r>
            <a:r>
              <a:rPr kumimoji="1" lang="ja-JP" altLang="en-US" sz="1600" b="1" i="1" u="none" strike="noStrike" kern="1200" cap="none" spc="0" normalizeH="0" baseline="0" noProof="0" dirty="0">
                <a:ln>
                  <a:noFill/>
                </a:ln>
                <a:solidFill>
                  <a:schemeClr val="tx2">
                    <a:lumMod val="75000"/>
                  </a:schemeClr>
                </a:solidFill>
                <a:effectLst/>
                <a:uLnTx/>
                <a:uFillTx/>
                <a:latin typeface="HGP明朝E"/>
                <a:ea typeface="HGP明朝E"/>
              </a:rPr>
              <a:t>　</a:t>
            </a:r>
            <a:r>
              <a:rPr kumimoji="1" lang="ja-JP" altLang="en-US" sz="1800" b="1" i="1" u="none" strike="noStrike" kern="1200" cap="none" spc="0" normalizeH="0" baseline="0" noProof="0" dirty="0">
                <a:ln>
                  <a:noFill/>
                </a:ln>
                <a:solidFill>
                  <a:schemeClr val="tx2">
                    <a:lumMod val="75000"/>
                  </a:schemeClr>
                </a:solidFill>
                <a:effectLst/>
                <a:uLnTx/>
                <a:uFillTx/>
                <a:latin typeface="HGP明朝E"/>
                <a:ea typeface="HGP明朝E"/>
              </a:rPr>
              <a:t>～地勢・位置 </a:t>
            </a:r>
          </a:p>
        </p:txBody>
      </p:sp>
      <p:graphicFrame>
        <p:nvGraphicFramePr>
          <p:cNvPr id="6" name="表 5"/>
          <p:cNvGraphicFramePr>
            <a:graphicFrameLocks noGrp="1"/>
          </p:cNvGraphicFramePr>
          <p:nvPr>
            <p:extLst>
              <p:ext uri="{D42A27DB-BD31-4B8C-83A1-F6EECF244321}">
                <p14:modId xmlns:p14="http://schemas.microsoft.com/office/powerpoint/2010/main" val="2530451430"/>
              </p:ext>
            </p:extLst>
          </p:nvPr>
        </p:nvGraphicFramePr>
        <p:xfrm>
          <a:off x="5779370" y="5639762"/>
          <a:ext cx="2969094" cy="929640"/>
        </p:xfrm>
        <a:graphic>
          <a:graphicData uri="http://schemas.openxmlformats.org/drawingml/2006/table">
            <a:tbl>
              <a:tblPr firstRow="1" bandRow="1">
                <a:tableStyleId>{69012ECD-51FC-41F1-AA8D-1B2483CD663E}</a:tableStyleId>
              </a:tblPr>
              <a:tblGrid>
                <a:gridCol w="1240902">
                  <a:extLst>
                    <a:ext uri="{9D8B030D-6E8A-4147-A177-3AD203B41FA5}">
                      <a16:colId xmlns:a16="http://schemas.microsoft.com/office/drawing/2014/main" val="20000"/>
                    </a:ext>
                  </a:extLst>
                </a:gridCol>
                <a:gridCol w="1728192">
                  <a:extLst>
                    <a:ext uri="{9D8B030D-6E8A-4147-A177-3AD203B41FA5}">
                      <a16:colId xmlns:a16="http://schemas.microsoft.com/office/drawing/2014/main" val="20001"/>
                    </a:ext>
                  </a:extLst>
                </a:gridCol>
              </a:tblGrid>
              <a:tr h="144016">
                <a:tc>
                  <a:txBody>
                    <a:bodyPr/>
                    <a:lstStyle/>
                    <a:p>
                      <a:pPr algn="ctr"/>
                      <a:r>
                        <a:rPr kumimoji="1" lang="ja-JP" altLang="en-US" sz="900" dirty="0">
                          <a:solidFill>
                            <a:schemeClr val="tx1"/>
                          </a:solidFill>
                          <a:latin typeface="Georgia" panose="02040502050405020303" pitchFamily="18" charset="0"/>
                          <a:ea typeface="ＭＳ Ｐ明朝" panose="02020600040205080304" pitchFamily="18" charset="-128"/>
                        </a:rPr>
                        <a:t>宮古島市の主な島</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algn="ctr"/>
                      <a:r>
                        <a:rPr kumimoji="1" lang="ja-JP" altLang="en-US" sz="1000" dirty="0">
                          <a:solidFill>
                            <a:schemeClr val="tx1"/>
                          </a:solidFill>
                          <a:latin typeface="Georgia" panose="02040502050405020303" pitchFamily="18" charset="0"/>
                          <a:ea typeface="ＭＳ Ｐ明朝" panose="02020600040205080304" pitchFamily="18" charset="-128"/>
                        </a:rPr>
                        <a:t>面　積</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0">
                <a:tc>
                  <a:txBody>
                    <a:bodyPr/>
                    <a:lstStyle/>
                    <a:p>
                      <a:pPr marL="0" algn="ctr" defTabSz="914400" rtl="0" eaLnBrk="1" latinLnBrk="0" hangingPunct="1"/>
                      <a:r>
                        <a:rPr kumimoji="0" lang="ja-JP" altLang="en-US" sz="900" b="0" i="0" kern="1200" dirty="0">
                          <a:solidFill>
                            <a:schemeClr val="tx1"/>
                          </a:solidFill>
                          <a:latin typeface="Georgia" panose="02040502050405020303" pitchFamily="18" charset="0"/>
                          <a:ea typeface="ＭＳ Ｐ明朝" panose="02020600040205080304" pitchFamily="18" charset="-128"/>
                          <a:cs typeface="Arial" charset="0"/>
                        </a:rPr>
                        <a:t>宮古島</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ja-JP" altLang="en-US" sz="900" b="0" i="0" kern="1200" dirty="0">
                          <a:solidFill>
                            <a:schemeClr val="tx1"/>
                          </a:solidFill>
                          <a:latin typeface="Georgia" panose="02040502050405020303" pitchFamily="18" charset="0"/>
                          <a:ea typeface="ＭＳ Ｐ明朝" panose="02020600040205080304" pitchFamily="18" charset="-128"/>
                          <a:cs typeface="Arial" charset="0"/>
                        </a:rPr>
                        <a:t>約</a:t>
                      </a:r>
                      <a:r>
                        <a:rPr kumimoji="0" lang="en-US" altLang="ja-JP" sz="900" b="0" i="0" kern="1200" dirty="0">
                          <a:solidFill>
                            <a:schemeClr val="tx1"/>
                          </a:solidFill>
                          <a:latin typeface="Georgia" panose="02040502050405020303" pitchFamily="18" charset="0"/>
                          <a:ea typeface="ＭＳ Ｐ明朝" panose="02020600040205080304" pitchFamily="18" charset="-128"/>
                          <a:cs typeface="Arial" charset="0"/>
                        </a:rPr>
                        <a:t>159.2</a:t>
                      </a:r>
                      <a:r>
                        <a:rPr kumimoji="0" lang="ja-JP" altLang="en-US" sz="900" b="0" i="0" kern="1200" dirty="0">
                          <a:solidFill>
                            <a:schemeClr val="tx1"/>
                          </a:solidFill>
                          <a:latin typeface="Georgia" panose="02040502050405020303" pitchFamily="18" charset="0"/>
                          <a:ea typeface="ＭＳ Ｐ明朝" panose="02020600040205080304" pitchFamily="18" charset="-128"/>
                          <a:cs typeface="Arial" charset="0"/>
                        </a:rPr>
                        <a:t>平方キロメートル</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75632">
                <a:tc>
                  <a:txBody>
                    <a:bodyPr/>
                    <a:lstStyle/>
                    <a:p>
                      <a:pPr marL="0" algn="ctr" defTabSz="914400" rtl="0" eaLnBrk="1" latinLnBrk="0" hangingPunct="1"/>
                      <a:r>
                        <a:rPr kumimoji="0" lang="ja-JP" altLang="en-US" sz="900" b="0" i="0" kern="1200" dirty="0">
                          <a:solidFill>
                            <a:schemeClr val="tx1"/>
                          </a:solidFill>
                          <a:latin typeface="Georgia" panose="02040502050405020303" pitchFamily="18" charset="0"/>
                          <a:ea typeface="ＭＳ Ｐ明朝" panose="02020600040205080304" pitchFamily="18" charset="-128"/>
                          <a:cs typeface="Arial" charset="0"/>
                        </a:rPr>
                        <a:t>伊良部島</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ja-JP" altLang="en-US" sz="900" b="0" i="0" kern="1200" dirty="0">
                          <a:solidFill>
                            <a:schemeClr val="tx1"/>
                          </a:solidFill>
                          <a:latin typeface="Georgia" panose="02040502050405020303" pitchFamily="18" charset="0"/>
                          <a:ea typeface="ＭＳ Ｐ明朝" panose="02020600040205080304" pitchFamily="18" charset="-128"/>
                          <a:cs typeface="Arial" charset="0"/>
                        </a:rPr>
                        <a:t>約</a:t>
                      </a:r>
                      <a:r>
                        <a:rPr kumimoji="0" lang="en-US" altLang="ja-JP" sz="900" b="0" i="0" kern="1200" dirty="0">
                          <a:solidFill>
                            <a:schemeClr val="tx1"/>
                          </a:solidFill>
                          <a:latin typeface="Georgia" panose="02040502050405020303" pitchFamily="18" charset="0"/>
                          <a:ea typeface="ＭＳ Ｐ明朝" panose="02020600040205080304" pitchFamily="18" charset="-128"/>
                          <a:cs typeface="Arial" charset="0"/>
                        </a:rPr>
                        <a:t>29.1</a:t>
                      </a:r>
                      <a:r>
                        <a:rPr kumimoji="0" lang="ja-JP" altLang="en-US" sz="900" b="0" i="0" kern="1200" dirty="0">
                          <a:solidFill>
                            <a:schemeClr val="tx1"/>
                          </a:solidFill>
                          <a:latin typeface="Georgia" panose="02040502050405020303" pitchFamily="18" charset="0"/>
                          <a:ea typeface="ＭＳ Ｐ明朝" panose="02020600040205080304" pitchFamily="18" charset="-128"/>
                          <a:cs typeface="Arial" charset="0"/>
                        </a:rPr>
                        <a:t>平方キロメートル</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0">
                <a:tc>
                  <a:txBody>
                    <a:bodyPr/>
                    <a:lstStyle/>
                    <a:p>
                      <a:pPr algn="ctr"/>
                      <a:r>
                        <a:rPr kumimoji="1" lang="ja-JP" altLang="en-US" sz="900" b="1" u="sng" dirty="0">
                          <a:solidFill>
                            <a:srgbClr val="C00000"/>
                          </a:solidFill>
                          <a:latin typeface="Georgia" panose="02040502050405020303" pitchFamily="18" charset="0"/>
                          <a:ea typeface="ＭＳ Ｐ明朝" panose="02020600040205080304" pitchFamily="18" charset="-128"/>
                        </a:rPr>
                        <a:t>下地島</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algn="ctr"/>
                      <a:r>
                        <a:rPr kumimoji="0" lang="ja-JP" altLang="en-US" sz="900" b="1" i="0" u="sng" dirty="0">
                          <a:solidFill>
                            <a:srgbClr val="C00000"/>
                          </a:solidFill>
                          <a:latin typeface="Georgia" panose="02040502050405020303" pitchFamily="18" charset="0"/>
                          <a:ea typeface="ＭＳ Ｐ明朝" panose="02020600040205080304" pitchFamily="18" charset="-128"/>
                          <a:cs typeface="Arial" charset="0"/>
                        </a:rPr>
                        <a:t>約</a:t>
                      </a:r>
                      <a:r>
                        <a:rPr kumimoji="0" lang="en-US" altLang="ja-JP" sz="900" b="1" i="0" u="sng" dirty="0">
                          <a:solidFill>
                            <a:srgbClr val="C00000"/>
                          </a:solidFill>
                          <a:latin typeface="Georgia" panose="02040502050405020303" pitchFamily="18" charset="0"/>
                          <a:ea typeface="ＭＳ Ｐ明朝" panose="02020600040205080304" pitchFamily="18" charset="-128"/>
                          <a:cs typeface="Arial" charset="0"/>
                        </a:rPr>
                        <a:t>9.5</a:t>
                      </a:r>
                      <a:r>
                        <a:rPr kumimoji="0" lang="ja-JP" altLang="en-US" sz="900" b="1" i="0" u="sng" dirty="0">
                          <a:solidFill>
                            <a:srgbClr val="C00000"/>
                          </a:solidFill>
                          <a:latin typeface="Georgia" panose="02040502050405020303" pitchFamily="18" charset="0"/>
                          <a:ea typeface="ＭＳ Ｐ明朝" panose="02020600040205080304" pitchFamily="18" charset="-128"/>
                          <a:cs typeface="Arial" charset="0"/>
                        </a:rPr>
                        <a:t>平方キロメートル</a:t>
                      </a:r>
                      <a:endParaRPr kumimoji="1" lang="ja-JP" altLang="en-US" sz="900" b="1" u="sng" dirty="0">
                        <a:solidFill>
                          <a:srgbClr val="C00000"/>
                        </a:solidFill>
                        <a:latin typeface="Georgia" panose="02040502050405020303" pitchFamily="18" charset="0"/>
                        <a:ea typeface="ＭＳ Ｐ明朝" panose="02020600040205080304" pitchFamily="18" charset="-128"/>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grpSp>
        <p:nvGrpSpPr>
          <p:cNvPr id="137" name="グループ化 136"/>
          <p:cNvGrpSpPr/>
          <p:nvPr/>
        </p:nvGrpSpPr>
        <p:grpSpPr>
          <a:xfrm>
            <a:off x="6466431" y="4199602"/>
            <a:ext cx="1635771" cy="1235240"/>
            <a:chOff x="445311" y="-27736"/>
            <a:chExt cx="9094751" cy="6867826"/>
          </a:xfrm>
        </p:grpSpPr>
        <p:sp>
          <p:nvSpPr>
            <p:cNvPr id="138" name="フリーフォーム 137"/>
            <p:cNvSpPr/>
            <p:nvPr/>
          </p:nvSpPr>
          <p:spPr>
            <a:xfrm>
              <a:off x="3689106" y="743610"/>
              <a:ext cx="2308517" cy="5338213"/>
            </a:xfrm>
            <a:custGeom>
              <a:avLst/>
              <a:gdLst>
                <a:gd name="connsiteX0" fmla="*/ 2265127 w 2308517"/>
                <a:gd name="connsiteY0" fmla="*/ 3392455 h 5338213"/>
                <a:gd name="connsiteX1" fmla="*/ 2169434 w 2308517"/>
                <a:gd name="connsiteY1" fmla="*/ 3201069 h 5338213"/>
                <a:gd name="connsiteX2" fmla="*/ 2158801 w 2308517"/>
                <a:gd name="connsiteY2" fmla="*/ 3073478 h 5338213"/>
                <a:gd name="connsiteX3" fmla="*/ 2180066 w 2308517"/>
                <a:gd name="connsiteY3" fmla="*/ 2882092 h 5338213"/>
                <a:gd name="connsiteX4" fmla="*/ 2307657 w 2308517"/>
                <a:gd name="connsiteY4" fmla="*/ 2797032 h 5338213"/>
                <a:gd name="connsiteX5" fmla="*/ 2233229 w 2308517"/>
                <a:gd name="connsiteY5" fmla="*/ 2711971 h 5338213"/>
                <a:gd name="connsiteX6" fmla="*/ 2180066 w 2308517"/>
                <a:gd name="connsiteY6" fmla="*/ 2690706 h 5338213"/>
                <a:gd name="connsiteX7" fmla="*/ 2063108 w 2308517"/>
                <a:gd name="connsiteY7" fmla="*/ 2573748 h 5338213"/>
                <a:gd name="connsiteX8" fmla="*/ 2031210 w 2308517"/>
                <a:gd name="connsiteY8" fmla="*/ 2552483 h 5338213"/>
                <a:gd name="connsiteX9" fmla="*/ 1988680 w 2308517"/>
                <a:gd name="connsiteY9" fmla="*/ 2499320 h 5338213"/>
                <a:gd name="connsiteX10" fmla="*/ 1924885 w 2308517"/>
                <a:gd name="connsiteY10" fmla="*/ 2531218 h 5338213"/>
                <a:gd name="connsiteX11" fmla="*/ 1861089 w 2308517"/>
                <a:gd name="connsiteY11" fmla="*/ 2424892 h 5338213"/>
                <a:gd name="connsiteX12" fmla="*/ 1807927 w 2308517"/>
                <a:gd name="connsiteY12" fmla="*/ 2446157 h 5338213"/>
                <a:gd name="connsiteX13" fmla="*/ 1754764 w 2308517"/>
                <a:gd name="connsiteY13" fmla="*/ 2382362 h 5338213"/>
                <a:gd name="connsiteX14" fmla="*/ 1637806 w 2308517"/>
                <a:gd name="connsiteY14" fmla="*/ 2286669 h 5338213"/>
                <a:gd name="connsiteX15" fmla="*/ 1690968 w 2308517"/>
                <a:gd name="connsiteY15" fmla="*/ 2244139 h 5338213"/>
                <a:gd name="connsiteX16" fmla="*/ 1552745 w 2308517"/>
                <a:gd name="connsiteY16" fmla="*/ 2127181 h 5338213"/>
                <a:gd name="connsiteX17" fmla="*/ 1531480 w 2308517"/>
                <a:gd name="connsiteY17" fmla="*/ 1999590 h 5338213"/>
                <a:gd name="connsiteX18" fmla="*/ 1510215 w 2308517"/>
                <a:gd name="connsiteY18" fmla="*/ 1925162 h 5338213"/>
                <a:gd name="connsiteX19" fmla="*/ 1425154 w 2308517"/>
                <a:gd name="connsiteY19" fmla="*/ 1914530 h 5338213"/>
                <a:gd name="connsiteX20" fmla="*/ 1457052 w 2308517"/>
                <a:gd name="connsiteY20" fmla="*/ 1786939 h 5338213"/>
                <a:gd name="connsiteX21" fmla="*/ 1457052 w 2308517"/>
                <a:gd name="connsiteY21" fmla="*/ 1701878 h 5338213"/>
                <a:gd name="connsiteX22" fmla="*/ 1467685 w 2308517"/>
                <a:gd name="connsiteY22" fmla="*/ 1648716 h 5338213"/>
                <a:gd name="connsiteX23" fmla="*/ 1467685 w 2308517"/>
                <a:gd name="connsiteY23" fmla="*/ 1574288 h 5338213"/>
                <a:gd name="connsiteX24" fmla="*/ 1393257 w 2308517"/>
                <a:gd name="connsiteY24" fmla="*/ 1414799 h 5338213"/>
                <a:gd name="connsiteX25" fmla="*/ 1350727 w 2308517"/>
                <a:gd name="connsiteY25" fmla="*/ 1329739 h 5338213"/>
                <a:gd name="connsiteX26" fmla="*/ 1286931 w 2308517"/>
                <a:gd name="connsiteY26" fmla="*/ 1117088 h 5338213"/>
                <a:gd name="connsiteX27" fmla="*/ 1265666 w 2308517"/>
                <a:gd name="connsiteY27" fmla="*/ 1042660 h 5338213"/>
                <a:gd name="connsiteX28" fmla="*/ 1201871 w 2308517"/>
                <a:gd name="connsiteY28" fmla="*/ 1042660 h 5338213"/>
                <a:gd name="connsiteX29" fmla="*/ 1201871 w 2308517"/>
                <a:gd name="connsiteY29" fmla="*/ 1074557 h 5338213"/>
                <a:gd name="connsiteX30" fmla="*/ 1074280 w 2308517"/>
                <a:gd name="connsiteY30" fmla="*/ 1000130 h 5338213"/>
                <a:gd name="connsiteX31" fmla="*/ 989220 w 2308517"/>
                <a:gd name="connsiteY31" fmla="*/ 946967 h 5338213"/>
                <a:gd name="connsiteX32" fmla="*/ 904159 w 2308517"/>
                <a:gd name="connsiteY32" fmla="*/ 915069 h 5338213"/>
                <a:gd name="connsiteX33" fmla="*/ 861629 w 2308517"/>
                <a:gd name="connsiteY33" fmla="*/ 861906 h 5338213"/>
                <a:gd name="connsiteX34" fmla="*/ 850996 w 2308517"/>
                <a:gd name="connsiteY34" fmla="*/ 776846 h 5338213"/>
                <a:gd name="connsiteX35" fmla="*/ 861629 w 2308517"/>
                <a:gd name="connsiteY35" fmla="*/ 723683 h 5338213"/>
                <a:gd name="connsiteX36" fmla="*/ 850996 w 2308517"/>
                <a:gd name="connsiteY36" fmla="*/ 659888 h 5338213"/>
                <a:gd name="connsiteX37" fmla="*/ 861629 w 2308517"/>
                <a:gd name="connsiteY37" fmla="*/ 606725 h 5338213"/>
                <a:gd name="connsiteX38" fmla="*/ 734038 w 2308517"/>
                <a:gd name="connsiteY38" fmla="*/ 489767 h 5338213"/>
                <a:gd name="connsiteX39" fmla="*/ 638345 w 2308517"/>
                <a:gd name="connsiteY39" fmla="*/ 404706 h 5338213"/>
                <a:gd name="connsiteX40" fmla="*/ 553285 w 2308517"/>
                <a:gd name="connsiteY40" fmla="*/ 340911 h 5338213"/>
                <a:gd name="connsiteX41" fmla="*/ 532020 w 2308517"/>
                <a:gd name="connsiteY41" fmla="*/ 287748 h 5338213"/>
                <a:gd name="connsiteX42" fmla="*/ 532020 w 2308517"/>
                <a:gd name="connsiteY42" fmla="*/ 192055 h 5338213"/>
                <a:gd name="connsiteX43" fmla="*/ 457592 w 2308517"/>
                <a:gd name="connsiteY43" fmla="*/ 21934 h 5338213"/>
                <a:gd name="connsiteX44" fmla="*/ 446959 w 2308517"/>
                <a:gd name="connsiteY44" fmla="*/ 21934 h 5338213"/>
                <a:gd name="connsiteX45" fmla="*/ 500122 w 2308517"/>
                <a:gd name="connsiteY45" fmla="*/ 202688 h 5338213"/>
                <a:gd name="connsiteX46" fmla="*/ 478857 w 2308517"/>
                <a:gd name="connsiteY46" fmla="*/ 255850 h 5338213"/>
                <a:gd name="connsiteX47" fmla="*/ 404429 w 2308517"/>
                <a:gd name="connsiteY47" fmla="*/ 309013 h 5338213"/>
                <a:gd name="connsiteX48" fmla="*/ 351266 w 2308517"/>
                <a:gd name="connsiteY48" fmla="*/ 309013 h 5338213"/>
                <a:gd name="connsiteX49" fmla="*/ 266206 w 2308517"/>
                <a:gd name="connsiteY49" fmla="*/ 245218 h 5338213"/>
                <a:gd name="connsiteX50" fmla="*/ 202410 w 2308517"/>
                <a:gd name="connsiteY50" fmla="*/ 170790 h 5338213"/>
                <a:gd name="connsiteX51" fmla="*/ 127982 w 2308517"/>
                <a:gd name="connsiteY51" fmla="*/ 128260 h 5338213"/>
                <a:gd name="connsiteX52" fmla="*/ 170513 w 2308517"/>
                <a:gd name="connsiteY52" fmla="*/ 223953 h 5338213"/>
                <a:gd name="connsiteX53" fmla="*/ 202410 w 2308517"/>
                <a:gd name="connsiteY53" fmla="*/ 245218 h 5338213"/>
                <a:gd name="connsiteX54" fmla="*/ 234308 w 2308517"/>
                <a:gd name="connsiteY54" fmla="*/ 319646 h 5338213"/>
                <a:gd name="connsiteX55" fmla="*/ 266206 w 2308517"/>
                <a:gd name="connsiteY55" fmla="*/ 383441 h 5338213"/>
                <a:gd name="connsiteX56" fmla="*/ 319368 w 2308517"/>
                <a:gd name="connsiteY56" fmla="*/ 404706 h 5338213"/>
                <a:gd name="connsiteX57" fmla="*/ 351266 w 2308517"/>
                <a:gd name="connsiteY57" fmla="*/ 479134 h 5338213"/>
                <a:gd name="connsiteX58" fmla="*/ 425694 w 2308517"/>
                <a:gd name="connsiteY58" fmla="*/ 532297 h 5338213"/>
                <a:gd name="connsiteX59" fmla="*/ 500122 w 2308517"/>
                <a:gd name="connsiteY59" fmla="*/ 596092 h 5338213"/>
                <a:gd name="connsiteX60" fmla="*/ 542652 w 2308517"/>
                <a:gd name="connsiteY60" fmla="*/ 691785 h 5338213"/>
                <a:gd name="connsiteX61" fmla="*/ 521387 w 2308517"/>
                <a:gd name="connsiteY61" fmla="*/ 734316 h 5338213"/>
                <a:gd name="connsiteX62" fmla="*/ 542652 w 2308517"/>
                <a:gd name="connsiteY62" fmla="*/ 851274 h 5338213"/>
                <a:gd name="connsiteX63" fmla="*/ 563917 w 2308517"/>
                <a:gd name="connsiteY63" fmla="*/ 883171 h 5338213"/>
                <a:gd name="connsiteX64" fmla="*/ 542652 w 2308517"/>
                <a:gd name="connsiteY64" fmla="*/ 1042660 h 5338213"/>
                <a:gd name="connsiteX65" fmla="*/ 617080 w 2308517"/>
                <a:gd name="connsiteY65" fmla="*/ 989497 h 5338213"/>
                <a:gd name="connsiteX66" fmla="*/ 627713 w 2308517"/>
                <a:gd name="connsiteY66" fmla="*/ 1085190 h 5338213"/>
                <a:gd name="connsiteX67" fmla="*/ 670243 w 2308517"/>
                <a:gd name="connsiteY67" fmla="*/ 1127720 h 5338213"/>
                <a:gd name="connsiteX68" fmla="*/ 702141 w 2308517"/>
                <a:gd name="connsiteY68" fmla="*/ 1202148 h 5338213"/>
                <a:gd name="connsiteX69" fmla="*/ 702141 w 2308517"/>
                <a:gd name="connsiteY69" fmla="*/ 1265943 h 5338213"/>
                <a:gd name="connsiteX70" fmla="*/ 787201 w 2308517"/>
                <a:gd name="connsiteY70" fmla="*/ 1340371 h 5338213"/>
                <a:gd name="connsiteX71" fmla="*/ 819099 w 2308517"/>
                <a:gd name="connsiteY71" fmla="*/ 1372269 h 5338213"/>
                <a:gd name="connsiteX72" fmla="*/ 872261 w 2308517"/>
                <a:gd name="connsiteY72" fmla="*/ 1457330 h 5338213"/>
                <a:gd name="connsiteX73" fmla="*/ 893527 w 2308517"/>
                <a:gd name="connsiteY73" fmla="*/ 1553023 h 5338213"/>
                <a:gd name="connsiteX74" fmla="*/ 893527 w 2308517"/>
                <a:gd name="connsiteY74" fmla="*/ 1638083 h 5338213"/>
                <a:gd name="connsiteX75" fmla="*/ 893527 w 2308517"/>
                <a:gd name="connsiteY75" fmla="*/ 1723143 h 5338213"/>
                <a:gd name="connsiteX76" fmla="*/ 925424 w 2308517"/>
                <a:gd name="connsiteY76" fmla="*/ 1723143 h 5338213"/>
                <a:gd name="connsiteX77" fmla="*/ 989220 w 2308517"/>
                <a:gd name="connsiteY77" fmla="*/ 1680613 h 5338213"/>
                <a:gd name="connsiteX78" fmla="*/ 1042382 w 2308517"/>
                <a:gd name="connsiteY78" fmla="*/ 1733776 h 5338213"/>
                <a:gd name="connsiteX79" fmla="*/ 1106178 w 2308517"/>
                <a:gd name="connsiteY79" fmla="*/ 1829469 h 5338213"/>
                <a:gd name="connsiteX80" fmla="*/ 1138075 w 2308517"/>
                <a:gd name="connsiteY80" fmla="*/ 1882632 h 5338213"/>
                <a:gd name="connsiteX81" fmla="*/ 1169973 w 2308517"/>
                <a:gd name="connsiteY81" fmla="*/ 1957060 h 5338213"/>
                <a:gd name="connsiteX82" fmla="*/ 1169973 w 2308517"/>
                <a:gd name="connsiteY82" fmla="*/ 2020855 h 5338213"/>
                <a:gd name="connsiteX83" fmla="*/ 1159341 w 2308517"/>
                <a:gd name="connsiteY83" fmla="*/ 2084650 h 5338213"/>
                <a:gd name="connsiteX84" fmla="*/ 1148708 w 2308517"/>
                <a:gd name="connsiteY84" fmla="*/ 2127181 h 5338213"/>
                <a:gd name="connsiteX85" fmla="*/ 1127443 w 2308517"/>
                <a:gd name="connsiteY85" fmla="*/ 2180343 h 5338213"/>
                <a:gd name="connsiteX86" fmla="*/ 1148708 w 2308517"/>
                <a:gd name="connsiteY86" fmla="*/ 2254771 h 5338213"/>
                <a:gd name="connsiteX87" fmla="*/ 1180606 w 2308517"/>
                <a:gd name="connsiteY87" fmla="*/ 2339832 h 5338213"/>
                <a:gd name="connsiteX88" fmla="*/ 1127443 w 2308517"/>
                <a:gd name="connsiteY88" fmla="*/ 2276037 h 5338213"/>
                <a:gd name="connsiteX89" fmla="*/ 1063647 w 2308517"/>
                <a:gd name="connsiteY89" fmla="*/ 2265404 h 5338213"/>
                <a:gd name="connsiteX90" fmla="*/ 1010485 w 2308517"/>
                <a:gd name="connsiteY90" fmla="*/ 2201609 h 5338213"/>
                <a:gd name="connsiteX91" fmla="*/ 946689 w 2308517"/>
                <a:gd name="connsiteY91" fmla="*/ 2127181 h 5338213"/>
                <a:gd name="connsiteX92" fmla="*/ 914792 w 2308517"/>
                <a:gd name="connsiteY92" fmla="*/ 2159078 h 5338213"/>
                <a:gd name="connsiteX93" fmla="*/ 904159 w 2308517"/>
                <a:gd name="connsiteY93" fmla="*/ 2244139 h 5338213"/>
                <a:gd name="connsiteX94" fmla="*/ 840364 w 2308517"/>
                <a:gd name="connsiteY94" fmla="*/ 2159078 h 5338213"/>
                <a:gd name="connsiteX95" fmla="*/ 723406 w 2308517"/>
                <a:gd name="connsiteY95" fmla="*/ 2286669 h 5338213"/>
                <a:gd name="connsiteX96" fmla="*/ 670243 w 2308517"/>
                <a:gd name="connsiteY96" fmla="*/ 2329199 h 5338213"/>
                <a:gd name="connsiteX97" fmla="*/ 680875 w 2308517"/>
                <a:gd name="connsiteY97" fmla="*/ 2446157 h 5338213"/>
                <a:gd name="connsiteX98" fmla="*/ 723406 w 2308517"/>
                <a:gd name="connsiteY98" fmla="*/ 2563116 h 5338213"/>
                <a:gd name="connsiteX99" fmla="*/ 744671 w 2308517"/>
                <a:gd name="connsiteY99" fmla="*/ 2680074 h 5338213"/>
                <a:gd name="connsiteX100" fmla="*/ 755303 w 2308517"/>
                <a:gd name="connsiteY100" fmla="*/ 2807664 h 5338213"/>
                <a:gd name="connsiteX101" fmla="*/ 744671 w 2308517"/>
                <a:gd name="connsiteY101" fmla="*/ 2935255 h 5338213"/>
                <a:gd name="connsiteX102" fmla="*/ 744671 w 2308517"/>
                <a:gd name="connsiteY102" fmla="*/ 3009683 h 5338213"/>
                <a:gd name="connsiteX103" fmla="*/ 712773 w 2308517"/>
                <a:gd name="connsiteY103" fmla="*/ 3062846 h 5338213"/>
                <a:gd name="connsiteX104" fmla="*/ 659610 w 2308517"/>
                <a:gd name="connsiteY104" fmla="*/ 3094743 h 5338213"/>
                <a:gd name="connsiteX105" fmla="*/ 638345 w 2308517"/>
                <a:gd name="connsiteY105" fmla="*/ 3158539 h 5338213"/>
                <a:gd name="connsiteX106" fmla="*/ 563917 w 2308517"/>
                <a:gd name="connsiteY106" fmla="*/ 3179804 h 5338213"/>
                <a:gd name="connsiteX107" fmla="*/ 595815 w 2308517"/>
                <a:gd name="connsiteY107" fmla="*/ 3296762 h 5338213"/>
                <a:gd name="connsiteX108" fmla="*/ 532020 w 2308517"/>
                <a:gd name="connsiteY108" fmla="*/ 3339292 h 5338213"/>
                <a:gd name="connsiteX109" fmla="*/ 436327 w 2308517"/>
                <a:gd name="connsiteY109" fmla="*/ 3339292 h 5338213"/>
                <a:gd name="connsiteX110" fmla="*/ 415061 w 2308517"/>
                <a:gd name="connsiteY110" fmla="*/ 3307395 h 5338213"/>
                <a:gd name="connsiteX111" fmla="*/ 393796 w 2308517"/>
                <a:gd name="connsiteY111" fmla="*/ 3371190 h 5338213"/>
                <a:gd name="connsiteX112" fmla="*/ 361899 w 2308517"/>
                <a:gd name="connsiteY112" fmla="*/ 3456250 h 5338213"/>
                <a:gd name="connsiteX113" fmla="*/ 308736 w 2308517"/>
                <a:gd name="connsiteY113" fmla="*/ 3392455 h 5338213"/>
                <a:gd name="connsiteX114" fmla="*/ 308736 w 2308517"/>
                <a:gd name="connsiteY114" fmla="*/ 3328660 h 5338213"/>
                <a:gd name="connsiteX115" fmla="*/ 213043 w 2308517"/>
                <a:gd name="connsiteY115" fmla="*/ 3339292 h 5338213"/>
                <a:gd name="connsiteX116" fmla="*/ 127982 w 2308517"/>
                <a:gd name="connsiteY116" fmla="*/ 3307395 h 5338213"/>
                <a:gd name="connsiteX117" fmla="*/ 85452 w 2308517"/>
                <a:gd name="connsiteY117" fmla="*/ 3360557 h 5338213"/>
                <a:gd name="connsiteX118" fmla="*/ 127982 w 2308517"/>
                <a:gd name="connsiteY118" fmla="*/ 3403088 h 5338213"/>
                <a:gd name="connsiteX119" fmla="*/ 138615 w 2308517"/>
                <a:gd name="connsiteY119" fmla="*/ 3498781 h 5338213"/>
                <a:gd name="connsiteX120" fmla="*/ 138615 w 2308517"/>
                <a:gd name="connsiteY120" fmla="*/ 3530678 h 5338213"/>
                <a:gd name="connsiteX121" fmla="*/ 85452 w 2308517"/>
                <a:gd name="connsiteY121" fmla="*/ 3583841 h 5338213"/>
                <a:gd name="connsiteX122" fmla="*/ 106717 w 2308517"/>
                <a:gd name="connsiteY122" fmla="*/ 3668902 h 5338213"/>
                <a:gd name="connsiteX123" fmla="*/ 138615 w 2308517"/>
                <a:gd name="connsiteY123" fmla="*/ 3753962 h 5338213"/>
                <a:gd name="connsiteX124" fmla="*/ 138615 w 2308517"/>
                <a:gd name="connsiteY124" fmla="*/ 3839023 h 5338213"/>
                <a:gd name="connsiteX125" fmla="*/ 149247 w 2308517"/>
                <a:gd name="connsiteY125" fmla="*/ 3913450 h 5338213"/>
                <a:gd name="connsiteX126" fmla="*/ 202410 w 2308517"/>
                <a:gd name="connsiteY126" fmla="*/ 3966613 h 5338213"/>
                <a:gd name="connsiteX127" fmla="*/ 255573 w 2308517"/>
                <a:gd name="connsiteY127" fmla="*/ 3955981 h 5338213"/>
                <a:gd name="connsiteX128" fmla="*/ 287471 w 2308517"/>
                <a:gd name="connsiteY128" fmla="*/ 3924083 h 5338213"/>
                <a:gd name="connsiteX129" fmla="*/ 340634 w 2308517"/>
                <a:gd name="connsiteY129" fmla="*/ 3945348 h 5338213"/>
                <a:gd name="connsiteX130" fmla="*/ 393796 w 2308517"/>
                <a:gd name="connsiteY130" fmla="*/ 3945348 h 5338213"/>
                <a:gd name="connsiteX131" fmla="*/ 468224 w 2308517"/>
                <a:gd name="connsiteY131" fmla="*/ 3934716 h 5338213"/>
                <a:gd name="connsiteX132" fmla="*/ 542652 w 2308517"/>
                <a:gd name="connsiteY132" fmla="*/ 4051674 h 5338213"/>
                <a:gd name="connsiteX133" fmla="*/ 585182 w 2308517"/>
                <a:gd name="connsiteY133" fmla="*/ 4136734 h 5338213"/>
                <a:gd name="connsiteX134" fmla="*/ 680875 w 2308517"/>
                <a:gd name="connsiteY134" fmla="*/ 4274957 h 5338213"/>
                <a:gd name="connsiteX135" fmla="*/ 734038 w 2308517"/>
                <a:gd name="connsiteY135" fmla="*/ 4360018 h 5338213"/>
                <a:gd name="connsiteX136" fmla="*/ 797834 w 2308517"/>
                <a:gd name="connsiteY136" fmla="*/ 4487609 h 5338213"/>
                <a:gd name="connsiteX137" fmla="*/ 819099 w 2308517"/>
                <a:gd name="connsiteY137" fmla="*/ 4583302 h 5338213"/>
                <a:gd name="connsiteX138" fmla="*/ 819099 w 2308517"/>
                <a:gd name="connsiteY138" fmla="*/ 4647097 h 5338213"/>
                <a:gd name="connsiteX139" fmla="*/ 840364 w 2308517"/>
                <a:gd name="connsiteY139" fmla="*/ 4721525 h 5338213"/>
                <a:gd name="connsiteX140" fmla="*/ 819099 w 2308517"/>
                <a:gd name="connsiteY140" fmla="*/ 4764055 h 5338213"/>
                <a:gd name="connsiteX141" fmla="*/ 808466 w 2308517"/>
                <a:gd name="connsiteY141" fmla="*/ 4806585 h 5338213"/>
                <a:gd name="connsiteX142" fmla="*/ 840364 w 2308517"/>
                <a:gd name="connsiteY142" fmla="*/ 4902278 h 5338213"/>
                <a:gd name="connsiteX143" fmla="*/ 755303 w 2308517"/>
                <a:gd name="connsiteY143" fmla="*/ 4912911 h 5338213"/>
                <a:gd name="connsiteX144" fmla="*/ 670243 w 2308517"/>
                <a:gd name="connsiteY144" fmla="*/ 4912911 h 5338213"/>
                <a:gd name="connsiteX145" fmla="*/ 627713 w 2308517"/>
                <a:gd name="connsiteY145" fmla="*/ 4902278 h 5338213"/>
                <a:gd name="connsiteX146" fmla="*/ 627713 w 2308517"/>
                <a:gd name="connsiteY146" fmla="*/ 4870381 h 5338213"/>
                <a:gd name="connsiteX147" fmla="*/ 563917 w 2308517"/>
                <a:gd name="connsiteY147" fmla="*/ 4838483 h 5338213"/>
                <a:gd name="connsiteX148" fmla="*/ 532020 w 2308517"/>
                <a:gd name="connsiteY148" fmla="*/ 4827850 h 5338213"/>
                <a:gd name="connsiteX149" fmla="*/ 478857 w 2308517"/>
                <a:gd name="connsiteY149" fmla="*/ 4806585 h 5338213"/>
                <a:gd name="connsiteX150" fmla="*/ 436327 w 2308517"/>
                <a:gd name="connsiteY150" fmla="*/ 4881013 h 5338213"/>
                <a:gd name="connsiteX151" fmla="*/ 383164 w 2308517"/>
                <a:gd name="connsiteY151" fmla="*/ 4891646 h 5338213"/>
                <a:gd name="connsiteX152" fmla="*/ 361899 w 2308517"/>
                <a:gd name="connsiteY152" fmla="*/ 4838483 h 5338213"/>
                <a:gd name="connsiteX153" fmla="*/ 319368 w 2308517"/>
                <a:gd name="connsiteY153" fmla="*/ 4785320 h 5338213"/>
                <a:gd name="connsiteX154" fmla="*/ 287471 w 2308517"/>
                <a:gd name="connsiteY154" fmla="*/ 4742790 h 5338213"/>
                <a:gd name="connsiteX155" fmla="*/ 191778 w 2308517"/>
                <a:gd name="connsiteY155" fmla="*/ 4678995 h 5338213"/>
                <a:gd name="connsiteX156" fmla="*/ 191778 w 2308517"/>
                <a:gd name="connsiteY156" fmla="*/ 4615199 h 5338213"/>
                <a:gd name="connsiteX157" fmla="*/ 234308 w 2308517"/>
                <a:gd name="connsiteY157" fmla="*/ 4540771 h 5338213"/>
                <a:gd name="connsiteX158" fmla="*/ 266206 w 2308517"/>
                <a:gd name="connsiteY158" fmla="*/ 4498241 h 5338213"/>
                <a:gd name="connsiteX159" fmla="*/ 266206 w 2308517"/>
                <a:gd name="connsiteY159" fmla="*/ 4455711 h 5338213"/>
                <a:gd name="connsiteX160" fmla="*/ 244941 w 2308517"/>
                <a:gd name="connsiteY160" fmla="*/ 4349385 h 5338213"/>
                <a:gd name="connsiteX161" fmla="*/ 202410 w 2308517"/>
                <a:gd name="connsiteY161" fmla="*/ 4391916 h 5338213"/>
                <a:gd name="connsiteX162" fmla="*/ 191778 w 2308517"/>
                <a:gd name="connsiteY162" fmla="*/ 4466343 h 5338213"/>
                <a:gd name="connsiteX163" fmla="*/ 159880 w 2308517"/>
                <a:gd name="connsiteY163" fmla="*/ 4540771 h 5338213"/>
                <a:gd name="connsiteX164" fmla="*/ 117350 w 2308517"/>
                <a:gd name="connsiteY164" fmla="*/ 4562037 h 5338213"/>
                <a:gd name="connsiteX165" fmla="*/ 106717 w 2308517"/>
                <a:gd name="connsiteY165" fmla="*/ 4636464 h 5338213"/>
                <a:gd name="connsiteX166" fmla="*/ 85452 w 2308517"/>
                <a:gd name="connsiteY166" fmla="*/ 4657730 h 5338213"/>
                <a:gd name="connsiteX167" fmla="*/ 32289 w 2308517"/>
                <a:gd name="connsiteY167" fmla="*/ 4689627 h 5338213"/>
                <a:gd name="connsiteX168" fmla="*/ 392 w 2308517"/>
                <a:gd name="connsiteY168" fmla="*/ 4764055 h 5338213"/>
                <a:gd name="connsiteX169" fmla="*/ 53554 w 2308517"/>
                <a:gd name="connsiteY169" fmla="*/ 4849116 h 5338213"/>
                <a:gd name="connsiteX170" fmla="*/ 85452 w 2308517"/>
                <a:gd name="connsiteY170" fmla="*/ 4923543 h 5338213"/>
                <a:gd name="connsiteX171" fmla="*/ 117350 w 2308517"/>
                <a:gd name="connsiteY171" fmla="*/ 5040502 h 5338213"/>
                <a:gd name="connsiteX172" fmla="*/ 191778 w 2308517"/>
                <a:gd name="connsiteY172" fmla="*/ 5221255 h 5338213"/>
                <a:gd name="connsiteX173" fmla="*/ 213043 w 2308517"/>
                <a:gd name="connsiteY173" fmla="*/ 5316948 h 5338213"/>
                <a:gd name="connsiteX174" fmla="*/ 202410 w 2308517"/>
                <a:gd name="connsiteY174" fmla="*/ 5338213 h 5338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2308517" h="5338213">
                  <a:moveTo>
                    <a:pt x="2265127" y="3392455"/>
                  </a:moveTo>
                  <a:cubicBezTo>
                    <a:pt x="2226141" y="3323343"/>
                    <a:pt x="2187155" y="3254232"/>
                    <a:pt x="2169434" y="3201069"/>
                  </a:cubicBezTo>
                  <a:cubicBezTo>
                    <a:pt x="2151713" y="3147906"/>
                    <a:pt x="2157029" y="3126641"/>
                    <a:pt x="2158801" y="3073478"/>
                  </a:cubicBezTo>
                  <a:cubicBezTo>
                    <a:pt x="2160573" y="3020315"/>
                    <a:pt x="2155257" y="2928166"/>
                    <a:pt x="2180066" y="2882092"/>
                  </a:cubicBezTo>
                  <a:cubicBezTo>
                    <a:pt x="2204875" y="2836018"/>
                    <a:pt x="2298797" y="2825385"/>
                    <a:pt x="2307657" y="2797032"/>
                  </a:cubicBezTo>
                  <a:cubicBezTo>
                    <a:pt x="2316518" y="2768678"/>
                    <a:pt x="2254494" y="2729692"/>
                    <a:pt x="2233229" y="2711971"/>
                  </a:cubicBezTo>
                  <a:cubicBezTo>
                    <a:pt x="2211964" y="2694250"/>
                    <a:pt x="2208419" y="2713743"/>
                    <a:pt x="2180066" y="2690706"/>
                  </a:cubicBezTo>
                  <a:cubicBezTo>
                    <a:pt x="2151712" y="2667669"/>
                    <a:pt x="2087917" y="2596785"/>
                    <a:pt x="2063108" y="2573748"/>
                  </a:cubicBezTo>
                  <a:cubicBezTo>
                    <a:pt x="2038299" y="2550711"/>
                    <a:pt x="2043615" y="2564888"/>
                    <a:pt x="2031210" y="2552483"/>
                  </a:cubicBezTo>
                  <a:cubicBezTo>
                    <a:pt x="2018805" y="2540078"/>
                    <a:pt x="2006401" y="2502864"/>
                    <a:pt x="1988680" y="2499320"/>
                  </a:cubicBezTo>
                  <a:cubicBezTo>
                    <a:pt x="1970959" y="2495776"/>
                    <a:pt x="1946150" y="2543623"/>
                    <a:pt x="1924885" y="2531218"/>
                  </a:cubicBezTo>
                  <a:cubicBezTo>
                    <a:pt x="1903620" y="2518813"/>
                    <a:pt x="1880582" y="2439069"/>
                    <a:pt x="1861089" y="2424892"/>
                  </a:cubicBezTo>
                  <a:cubicBezTo>
                    <a:pt x="1841596" y="2410715"/>
                    <a:pt x="1825648" y="2453245"/>
                    <a:pt x="1807927" y="2446157"/>
                  </a:cubicBezTo>
                  <a:cubicBezTo>
                    <a:pt x="1790206" y="2439069"/>
                    <a:pt x="1783117" y="2408943"/>
                    <a:pt x="1754764" y="2382362"/>
                  </a:cubicBezTo>
                  <a:cubicBezTo>
                    <a:pt x="1726411" y="2355781"/>
                    <a:pt x="1648439" y="2309706"/>
                    <a:pt x="1637806" y="2286669"/>
                  </a:cubicBezTo>
                  <a:cubicBezTo>
                    <a:pt x="1627173" y="2263632"/>
                    <a:pt x="1705145" y="2270720"/>
                    <a:pt x="1690968" y="2244139"/>
                  </a:cubicBezTo>
                  <a:cubicBezTo>
                    <a:pt x="1676791" y="2217558"/>
                    <a:pt x="1579326" y="2167939"/>
                    <a:pt x="1552745" y="2127181"/>
                  </a:cubicBezTo>
                  <a:cubicBezTo>
                    <a:pt x="1526164" y="2086423"/>
                    <a:pt x="1538568" y="2033260"/>
                    <a:pt x="1531480" y="1999590"/>
                  </a:cubicBezTo>
                  <a:cubicBezTo>
                    <a:pt x="1524392" y="1965920"/>
                    <a:pt x="1527936" y="1939339"/>
                    <a:pt x="1510215" y="1925162"/>
                  </a:cubicBezTo>
                  <a:cubicBezTo>
                    <a:pt x="1492494" y="1910985"/>
                    <a:pt x="1434014" y="1937567"/>
                    <a:pt x="1425154" y="1914530"/>
                  </a:cubicBezTo>
                  <a:cubicBezTo>
                    <a:pt x="1416294" y="1891493"/>
                    <a:pt x="1451736" y="1822381"/>
                    <a:pt x="1457052" y="1786939"/>
                  </a:cubicBezTo>
                  <a:cubicBezTo>
                    <a:pt x="1462368" y="1751497"/>
                    <a:pt x="1455280" y="1724915"/>
                    <a:pt x="1457052" y="1701878"/>
                  </a:cubicBezTo>
                  <a:cubicBezTo>
                    <a:pt x="1458824" y="1678841"/>
                    <a:pt x="1465913" y="1669981"/>
                    <a:pt x="1467685" y="1648716"/>
                  </a:cubicBezTo>
                  <a:cubicBezTo>
                    <a:pt x="1469457" y="1627451"/>
                    <a:pt x="1480090" y="1613274"/>
                    <a:pt x="1467685" y="1574288"/>
                  </a:cubicBezTo>
                  <a:cubicBezTo>
                    <a:pt x="1455280" y="1535302"/>
                    <a:pt x="1412750" y="1455557"/>
                    <a:pt x="1393257" y="1414799"/>
                  </a:cubicBezTo>
                  <a:cubicBezTo>
                    <a:pt x="1373764" y="1374041"/>
                    <a:pt x="1368448" y="1379357"/>
                    <a:pt x="1350727" y="1329739"/>
                  </a:cubicBezTo>
                  <a:cubicBezTo>
                    <a:pt x="1333006" y="1280121"/>
                    <a:pt x="1301108" y="1164934"/>
                    <a:pt x="1286931" y="1117088"/>
                  </a:cubicBezTo>
                  <a:cubicBezTo>
                    <a:pt x="1272754" y="1069241"/>
                    <a:pt x="1279843" y="1055065"/>
                    <a:pt x="1265666" y="1042660"/>
                  </a:cubicBezTo>
                  <a:cubicBezTo>
                    <a:pt x="1251489" y="1030255"/>
                    <a:pt x="1212503" y="1037344"/>
                    <a:pt x="1201871" y="1042660"/>
                  </a:cubicBezTo>
                  <a:cubicBezTo>
                    <a:pt x="1191238" y="1047976"/>
                    <a:pt x="1223136" y="1081645"/>
                    <a:pt x="1201871" y="1074557"/>
                  </a:cubicBezTo>
                  <a:cubicBezTo>
                    <a:pt x="1180606" y="1067469"/>
                    <a:pt x="1109722" y="1021395"/>
                    <a:pt x="1074280" y="1000130"/>
                  </a:cubicBezTo>
                  <a:cubicBezTo>
                    <a:pt x="1038838" y="978865"/>
                    <a:pt x="1017573" y="961144"/>
                    <a:pt x="989220" y="946967"/>
                  </a:cubicBezTo>
                  <a:cubicBezTo>
                    <a:pt x="960867" y="932790"/>
                    <a:pt x="925424" y="929246"/>
                    <a:pt x="904159" y="915069"/>
                  </a:cubicBezTo>
                  <a:cubicBezTo>
                    <a:pt x="882894" y="900892"/>
                    <a:pt x="870489" y="884943"/>
                    <a:pt x="861629" y="861906"/>
                  </a:cubicBezTo>
                  <a:cubicBezTo>
                    <a:pt x="852769" y="838869"/>
                    <a:pt x="850996" y="799883"/>
                    <a:pt x="850996" y="776846"/>
                  </a:cubicBezTo>
                  <a:cubicBezTo>
                    <a:pt x="850996" y="753809"/>
                    <a:pt x="861629" y="743176"/>
                    <a:pt x="861629" y="723683"/>
                  </a:cubicBezTo>
                  <a:cubicBezTo>
                    <a:pt x="861629" y="704190"/>
                    <a:pt x="850996" y="679381"/>
                    <a:pt x="850996" y="659888"/>
                  </a:cubicBezTo>
                  <a:cubicBezTo>
                    <a:pt x="850996" y="640395"/>
                    <a:pt x="881122" y="635078"/>
                    <a:pt x="861629" y="606725"/>
                  </a:cubicBezTo>
                  <a:cubicBezTo>
                    <a:pt x="842136" y="578372"/>
                    <a:pt x="771252" y="523437"/>
                    <a:pt x="734038" y="489767"/>
                  </a:cubicBezTo>
                  <a:cubicBezTo>
                    <a:pt x="696824" y="456097"/>
                    <a:pt x="668470" y="429515"/>
                    <a:pt x="638345" y="404706"/>
                  </a:cubicBezTo>
                  <a:cubicBezTo>
                    <a:pt x="608220" y="379897"/>
                    <a:pt x="571006" y="360404"/>
                    <a:pt x="553285" y="340911"/>
                  </a:cubicBezTo>
                  <a:cubicBezTo>
                    <a:pt x="535564" y="321418"/>
                    <a:pt x="535564" y="312557"/>
                    <a:pt x="532020" y="287748"/>
                  </a:cubicBezTo>
                  <a:cubicBezTo>
                    <a:pt x="528476" y="262939"/>
                    <a:pt x="544425" y="236357"/>
                    <a:pt x="532020" y="192055"/>
                  </a:cubicBezTo>
                  <a:cubicBezTo>
                    <a:pt x="519615" y="147753"/>
                    <a:pt x="471769" y="50287"/>
                    <a:pt x="457592" y="21934"/>
                  </a:cubicBezTo>
                  <a:cubicBezTo>
                    <a:pt x="443415" y="-6419"/>
                    <a:pt x="439871" y="-8192"/>
                    <a:pt x="446959" y="21934"/>
                  </a:cubicBezTo>
                  <a:cubicBezTo>
                    <a:pt x="454047" y="52060"/>
                    <a:pt x="494806" y="163702"/>
                    <a:pt x="500122" y="202688"/>
                  </a:cubicBezTo>
                  <a:cubicBezTo>
                    <a:pt x="505438" y="241674"/>
                    <a:pt x="494806" y="238129"/>
                    <a:pt x="478857" y="255850"/>
                  </a:cubicBezTo>
                  <a:cubicBezTo>
                    <a:pt x="462908" y="273571"/>
                    <a:pt x="425694" y="300153"/>
                    <a:pt x="404429" y="309013"/>
                  </a:cubicBezTo>
                  <a:cubicBezTo>
                    <a:pt x="383164" y="317873"/>
                    <a:pt x="374303" y="319646"/>
                    <a:pt x="351266" y="309013"/>
                  </a:cubicBezTo>
                  <a:cubicBezTo>
                    <a:pt x="328229" y="298380"/>
                    <a:pt x="291015" y="268255"/>
                    <a:pt x="266206" y="245218"/>
                  </a:cubicBezTo>
                  <a:cubicBezTo>
                    <a:pt x="241397" y="222181"/>
                    <a:pt x="225447" y="190283"/>
                    <a:pt x="202410" y="170790"/>
                  </a:cubicBezTo>
                  <a:cubicBezTo>
                    <a:pt x="179373" y="151297"/>
                    <a:pt x="133298" y="119400"/>
                    <a:pt x="127982" y="128260"/>
                  </a:cubicBezTo>
                  <a:cubicBezTo>
                    <a:pt x="122666" y="137120"/>
                    <a:pt x="158108" y="204460"/>
                    <a:pt x="170513" y="223953"/>
                  </a:cubicBezTo>
                  <a:cubicBezTo>
                    <a:pt x="182918" y="243446"/>
                    <a:pt x="191778" y="229269"/>
                    <a:pt x="202410" y="245218"/>
                  </a:cubicBezTo>
                  <a:cubicBezTo>
                    <a:pt x="213042" y="261167"/>
                    <a:pt x="223675" y="296609"/>
                    <a:pt x="234308" y="319646"/>
                  </a:cubicBezTo>
                  <a:cubicBezTo>
                    <a:pt x="244941" y="342683"/>
                    <a:pt x="252029" y="369264"/>
                    <a:pt x="266206" y="383441"/>
                  </a:cubicBezTo>
                  <a:cubicBezTo>
                    <a:pt x="280383" y="397618"/>
                    <a:pt x="305191" y="388757"/>
                    <a:pt x="319368" y="404706"/>
                  </a:cubicBezTo>
                  <a:cubicBezTo>
                    <a:pt x="333545" y="420655"/>
                    <a:pt x="333545" y="457869"/>
                    <a:pt x="351266" y="479134"/>
                  </a:cubicBezTo>
                  <a:cubicBezTo>
                    <a:pt x="368987" y="500399"/>
                    <a:pt x="400885" y="512804"/>
                    <a:pt x="425694" y="532297"/>
                  </a:cubicBezTo>
                  <a:cubicBezTo>
                    <a:pt x="450503" y="551790"/>
                    <a:pt x="480629" y="569511"/>
                    <a:pt x="500122" y="596092"/>
                  </a:cubicBezTo>
                  <a:cubicBezTo>
                    <a:pt x="519615" y="622673"/>
                    <a:pt x="539108" y="668748"/>
                    <a:pt x="542652" y="691785"/>
                  </a:cubicBezTo>
                  <a:cubicBezTo>
                    <a:pt x="546196" y="714822"/>
                    <a:pt x="521387" y="707735"/>
                    <a:pt x="521387" y="734316"/>
                  </a:cubicBezTo>
                  <a:cubicBezTo>
                    <a:pt x="521387" y="760897"/>
                    <a:pt x="535564" y="826465"/>
                    <a:pt x="542652" y="851274"/>
                  </a:cubicBezTo>
                  <a:cubicBezTo>
                    <a:pt x="549740" y="876083"/>
                    <a:pt x="563917" y="851273"/>
                    <a:pt x="563917" y="883171"/>
                  </a:cubicBezTo>
                  <a:cubicBezTo>
                    <a:pt x="563917" y="915069"/>
                    <a:pt x="533791" y="1024939"/>
                    <a:pt x="542652" y="1042660"/>
                  </a:cubicBezTo>
                  <a:cubicBezTo>
                    <a:pt x="551512" y="1060381"/>
                    <a:pt x="602903" y="982409"/>
                    <a:pt x="617080" y="989497"/>
                  </a:cubicBezTo>
                  <a:cubicBezTo>
                    <a:pt x="631257" y="996585"/>
                    <a:pt x="618853" y="1062153"/>
                    <a:pt x="627713" y="1085190"/>
                  </a:cubicBezTo>
                  <a:cubicBezTo>
                    <a:pt x="636573" y="1108227"/>
                    <a:pt x="657838" y="1108227"/>
                    <a:pt x="670243" y="1127720"/>
                  </a:cubicBezTo>
                  <a:cubicBezTo>
                    <a:pt x="682648" y="1147213"/>
                    <a:pt x="696825" y="1179111"/>
                    <a:pt x="702141" y="1202148"/>
                  </a:cubicBezTo>
                  <a:cubicBezTo>
                    <a:pt x="707457" y="1225185"/>
                    <a:pt x="687964" y="1242906"/>
                    <a:pt x="702141" y="1265943"/>
                  </a:cubicBezTo>
                  <a:cubicBezTo>
                    <a:pt x="716318" y="1288980"/>
                    <a:pt x="767708" y="1322650"/>
                    <a:pt x="787201" y="1340371"/>
                  </a:cubicBezTo>
                  <a:cubicBezTo>
                    <a:pt x="806694" y="1358092"/>
                    <a:pt x="804922" y="1352776"/>
                    <a:pt x="819099" y="1372269"/>
                  </a:cubicBezTo>
                  <a:cubicBezTo>
                    <a:pt x="833276" y="1391762"/>
                    <a:pt x="859856" y="1427204"/>
                    <a:pt x="872261" y="1457330"/>
                  </a:cubicBezTo>
                  <a:cubicBezTo>
                    <a:pt x="884666" y="1487456"/>
                    <a:pt x="889983" y="1522898"/>
                    <a:pt x="893527" y="1553023"/>
                  </a:cubicBezTo>
                  <a:cubicBezTo>
                    <a:pt x="897071" y="1583148"/>
                    <a:pt x="893527" y="1638083"/>
                    <a:pt x="893527" y="1638083"/>
                  </a:cubicBezTo>
                  <a:cubicBezTo>
                    <a:pt x="893527" y="1666436"/>
                    <a:pt x="888211" y="1708966"/>
                    <a:pt x="893527" y="1723143"/>
                  </a:cubicBezTo>
                  <a:cubicBezTo>
                    <a:pt x="898843" y="1737320"/>
                    <a:pt x="909475" y="1730231"/>
                    <a:pt x="925424" y="1723143"/>
                  </a:cubicBezTo>
                  <a:cubicBezTo>
                    <a:pt x="941373" y="1716055"/>
                    <a:pt x="969727" y="1678841"/>
                    <a:pt x="989220" y="1680613"/>
                  </a:cubicBezTo>
                  <a:cubicBezTo>
                    <a:pt x="1008713" y="1682385"/>
                    <a:pt x="1022889" y="1708967"/>
                    <a:pt x="1042382" y="1733776"/>
                  </a:cubicBezTo>
                  <a:cubicBezTo>
                    <a:pt x="1061875" y="1758585"/>
                    <a:pt x="1090229" y="1804660"/>
                    <a:pt x="1106178" y="1829469"/>
                  </a:cubicBezTo>
                  <a:cubicBezTo>
                    <a:pt x="1122127" y="1854278"/>
                    <a:pt x="1127442" y="1861367"/>
                    <a:pt x="1138075" y="1882632"/>
                  </a:cubicBezTo>
                  <a:cubicBezTo>
                    <a:pt x="1148707" y="1903897"/>
                    <a:pt x="1164657" y="1934023"/>
                    <a:pt x="1169973" y="1957060"/>
                  </a:cubicBezTo>
                  <a:cubicBezTo>
                    <a:pt x="1175289" y="1980097"/>
                    <a:pt x="1171745" y="1999590"/>
                    <a:pt x="1169973" y="2020855"/>
                  </a:cubicBezTo>
                  <a:cubicBezTo>
                    <a:pt x="1168201" y="2042120"/>
                    <a:pt x="1162885" y="2066929"/>
                    <a:pt x="1159341" y="2084650"/>
                  </a:cubicBezTo>
                  <a:cubicBezTo>
                    <a:pt x="1155797" y="2102371"/>
                    <a:pt x="1154024" y="2111232"/>
                    <a:pt x="1148708" y="2127181"/>
                  </a:cubicBezTo>
                  <a:cubicBezTo>
                    <a:pt x="1143392" y="2143130"/>
                    <a:pt x="1127443" y="2159078"/>
                    <a:pt x="1127443" y="2180343"/>
                  </a:cubicBezTo>
                  <a:cubicBezTo>
                    <a:pt x="1127443" y="2201608"/>
                    <a:pt x="1139847" y="2228189"/>
                    <a:pt x="1148708" y="2254771"/>
                  </a:cubicBezTo>
                  <a:cubicBezTo>
                    <a:pt x="1157568" y="2281352"/>
                    <a:pt x="1184150" y="2336288"/>
                    <a:pt x="1180606" y="2339832"/>
                  </a:cubicBezTo>
                  <a:cubicBezTo>
                    <a:pt x="1177062" y="2343376"/>
                    <a:pt x="1146936" y="2288442"/>
                    <a:pt x="1127443" y="2276037"/>
                  </a:cubicBezTo>
                  <a:cubicBezTo>
                    <a:pt x="1107950" y="2263632"/>
                    <a:pt x="1083140" y="2277809"/>
                    <a:pt x="1063647" y="2265404"/>
                  </a:cubicBezTo>
                  <a:cubicBezTo>
                    <a:pt x="1044154" y="2252999"/>
                    <a:pt x="1029978" y="2224646"/>
                    <a:pt x="1010485" y="2201609"/>
                  </a:cubicBezTo>
                  <a:cubicBezTo>
                    <a:pt x="990992" y="2178572"/>
                    <a:pt x="962638" y="2134269"/>
                    <a:pt x="946689" y="2127181"/>
                  </a:cubicBezTo>
                  <a:cubicBezTo>
                    <a:pt x="930740" y="2120093"/>
                    <a:pt x="921880" y="2139585"/>
                    <a:pt x="914792" y="2159078"/>
                  </a:cubicBezTo>
                  <a:cubicBezTo>
                    <a:pt x="907704" y="2178571"/>
                    <a:pt x="916564" y="2244139"/>
                    <a:pt x="904159" y="2244139"/>
                  </a:cubicBezTo>
                  <a:cubicBezTo>
                    <a:pt x="891754" y="2244139"/>
                    <a:pt x="870490" y="2151990"/>
                    <a:pt x="840364" y="2159078"/>
                  </a:cubicBezTo>
                  <a:cubicBezTo>
                    <a:pt x="810238" y="2166166"/>
                    <a:pt x="751759" y="2258316"/>
                    <a:pt x="723406" y="2286669"/>
                  </a:cubicBezTo>
                  <a:cubicBezTo>
                    <a:pt x="695053" y="2315022"/>
                    <a:pt x="677331" y="2302618"/>
                    <a:pt x="670243" y="2329199"/>
                  </a:cubicBezTo>
                  <a:cubicBezTo>
                    <a:pt x="663154" y="2355780"/>
                    <a:pt x="672015" y="2407171"/>
                    <a:pt x="680875" y="2446157"/>
                  </a:cubicBezTo>
                  <a:cubicBezTo>
                    <a:pt x="689735" y="2485143"/>
                    <a:pt x="712773" y="2524130"/>
                    <a:pt x="723406" y="2563116"/>
                  </a:cubicBezTo>
                  <a:cubicBezTo>
                    <a:pt x="734039" y="2602102"/>
                    <a:pt x="739355" y="2639316"/>
                    <a:pt x="744671" y="2680074"/>
                  </a:cubicBezTo>
                  <a:cubicBezTo>
                    <a:pt x="749987" y="2720832"/>
                    <a:pt x="755303" y="2765134"/>
                    <a:pt x="755303" y="2807664"/>
                  </a:cubicBezTo>
                  <a:cubicBezTo>
                    <a:pt x="755303" y="2850194"/>
                    <a:pt x="746443" y="2901585"/>
                    <a:pt x="744671" y="2935255"/>
                  </a:cubicBezTo>
                  <a:cubicBezTo>
                    <a:pt x="742899" y="2968925"/>
                    <a:pt x="749987" y="2988418"/>
                    <a:pt x="744671" y="3009683"/>
                  </a:cubicBezTo>
                  <a:cubicBezTo>
                    <a:pt x="739355" y="3030948"/>
                    <a:pt x="726950" y="3048669"/>
                    <a:pt x="712773" y="3062846"/>
                  </a:cubicBezTo>
                  <a:cubicBezTo>
                    <a:pt x="698596" y="3077023"/>
                    <a:pt x="672015" y="3078794"/>
                    <a:pt x="659610" y="3094743"/>
                  </a:cubicBezTo>
                  <a:cubicBezTo>
                    <a:pt x="647205" y="3110692"/>
                    <a:pt x="654294" y="3144362"/>
                    <a:pt x="638345" y="3158539"/>
                  </a:cubicBezTo>
                  <a:cubicBezTo>
                    <a:pt x="622396" y="3172716"/>
                    <a:pt x="571005" y="3156767"/>
                    <a:pt x="563917" y="3179804"/>
                  </a:cubicBezTo>
                  <a:cubicBezTo>
                    <a:pt x="556829" y="3202841"/>
                    <a:pt x="601131" y="3270181"/>
                    <a:pt x="595815" y="3296762"/>
                  </a:cubicBezTo>
                  <a:cubicBezTo>
                    <a:pt x="590499" y="3323343"/>
                    <a:pt x="558601" y="3332204"/>
                    <a:pt x="532020" y="3339292"/>
                  </a:cubicBezTo>
                  <a:cubicBezTo>
                    <a:pt x="505439" y="3346380"/>
                    <a:pt x="455820" y="3344608"/>
                    <a:pt x="436327" y="3339292"/>
                  </a:cubicBezTo>
                  <a:cubicBezTo>
                    <a:pt x="416834" y="3333976"/>
                    <a:pt x="422149" y="3302079"/>
                    <a:pt x="415061" y="3307395"/>
                  </a:cubicBezTo>
                  <a:cubicBezTo>
                    <a:pt x="407973" y="3312711"/>
                    <a:pt x="402656" y="3346381"/>
                    <a:pt x="393796" y="3371190"/>
                  </a:cubicBezTo>
                  <a:cubicBezTo>
                    <a:pt x="384936" y="3395999"/>
                    <a:pt x="376076" y="3452706"/>
                    <a:pt x="361899" y="3456250"/>
                  </a:cubicBezTo>
                  <a:cubicBezTo>
                    <a:pt x="347722" y="3459794"/>
                    <a:pt x="317596" y="3413720"/>
                    <a:pt x="308736" y="3392455"/>
                  </a:cubicBezTo>
                  <a:cubicBezTo>
                    <a:pt x="299875" y="3371190"/>
                    <a:pt x="324685" y="3337520"/>
                    <a:pt x="308736" y="3328660"/>
                  </a:cubicBezTo>
                  <a:cubicBezTo>
                    <a:pt x="292787" y="3319800"/>
                    <a:pt x="243169" y="3342836"/>
                    <a:pt x="213043" y="3339292"/>
                  </a:cubicBezTo>
                  <a:cubicBezTo>
                    <a:pt x="182917" y="3335748"/>
                    <a:pt x="149247" y="3303851"/>
                    <a:pt x="127982" y="3307395"/>
                  </a:cubicBezTo>
                  <a:cubicBezTo>
                    <a:pt x="106717" y="3310939"/>
                    <a:pt x="85452" y="3344608"/>
                    <a:pt x="85452" y="3360557"/>
                  </a:cubicBezTo>
                  <a:cubicBezTo>
                    <a:pt x="85452" y="3376506"/>
                    <a:pt x="119122" y="3380051"/>
                    <a:pt x="127982" y="3403088"/>
                  </a:cubicBezTo>
                  <a:cubicBezTo>
                    <a:pt x="136842" y="3426125"/>
                    <a:pt x="136843" y="3477516"/>
                    <a:pt x="138615" y="3498781"/>
                  </a:cubicBezTo>
                  <a:cubicBezTo>
                    <a:pt x="140387" y="3520046"/>
                    <a:pt x="147475" y="3516501"/>
                    <a:pt x="138615" y="3530678"/>
                  </a:cubicBezTo>
                  <a:cubicBezTo>
                    <a:pt x="129754" y="3544855"/>
                    <a:pt x="90768" y="3560804"/>
                    <a:pt x="85452" y="3583841"/>
                  </a:cubicBezTo>
                  <a:cubicBezTo>
                    <a:pt x="80136" y="3606878"/>
                    <a:pt x="97856" y="3640549"/>
                    <a:pt x="106717" y="3668902"/>
                  </a:cubicBezTo>
                  <a:cubicBezTo>
                    <a:pt x="115577" y="3697256"/>
                    <a:pt x="133299" y="3725608"/>
                    <a:pt x="138615" y="3753962"/>
                  </a:cubicBezTo>
                  <a:cubicBezTo>
                    <a:pt x="143931" y="3782316"/>
                    <a:pt x="136843" y="3812442"/>
                    <a:pt x="138615" y="3839023"/>
                  </a:cubicBezTo>
                  <a:cubicBezTo>
                    <a:pt x="140387" y="3865604"/>
                    <a:pt x="138615" y="3892185"/>
                    <a:pt x="149247" y="3913450"/>
                  </a:cubicBezTo>
                  <a:cubicBezTo>
                    <a:pt x="159879" y="3934715"/>
                    <a:pt x="184689" y="3959525"/>
                    <a:pt x="202410" y="3966613"/>
                  </a:cubicBezTo>
                  <a:cubicBezTo>
                    <a:pt x="220131" y="3973702"/>
                    <a:pt x="241396" y="3963069"/>
                    <a:pt x="255573" y="3955981"/>
                  </a:cubicBezTo>
                  <a:cubicBezTo>
                    <a:pt x="269750" y="3948893"/>
                    <a:pt x="273294" y="3925855"/>
                    <a:pt x="287471" y="3924083"/>
                  </a:cubicBezTo>
                  <a:cubicBezTo>
                    <a:pt x="301648" y="3922311"/>
                    <a:pt x="322913" y="3941804"/>
                    <a:pt x="340634" y="3945348"/>
                  </a:cubicBezTo>
                  <a:cubicBezTo>
                    <a:pt x="358355" y="3948892"/>
                    <a:pt x="372531" y="3947120"/>
                    <a:pt x="393796" y="3945348"/>
                  </a:cubicBezTo>
                  <a:cubicBezTo>
                    <a:pt x="415061" y="3943576"/>
                    <a:pt x="443415" y="3916995"/>
                    <a:pt x="468224" y="3934716"/>
                  </a:cubicBezTo>
                  <a:cubicBezTo>
                    <a:pt x="493033" y="3952437"/>
                    <a:pt x="523159" y="4018004"/>
                    <a:pt x="542652" y="4051674"/>
                  </a:cubicBezTo>
                  <a:cubicBezTo>
                    <a:pt x="562145" y="4085344"/>
                    <a:pt x="562145" y="4099520"/>
                    <a:pt x="585182" y="4136734"/>
                  </a:cubicBezTo>
                  <a:cubicBezTo>
                    <a:pt x="608219" y="4173948"/>
                    <a:pt x="656066" y="4237743"/>
                    <a:pt x="680875" y="4274957"/>
                  </a:cubicBezTo>
                  <a:cubicBezTo>
                    <a:pt x="705684" y="4312171"/>
                    <a:pt x="714545" y="4324576"/>
                    <a:pt x="734038" y="4360018"/>
                  </a:cubicBezTo>
                  <a:cubicBezTo>
                    <a:pt x="753531" y="4395460"/>
                    <a:pt x="783657" y="4450395"/>
                    <a:pt x="797834" y="4487609"/>
                  </a:cubicBezTo>
                  <a:cubicBezTo>
                    <a:pt x="812011" y="4524823"/>
                    <a:pt x="815555" y="4556721"/>
                    <a:pt x="819099" y="4583302"/>
                  </a:cubicBezTo>
                  <a:cubicBezTo>
                    <a:pt x="822643" y="4609883"/>
                    <a:pt x="815555" y="4624060"/>
                    <a:pt x="819099" y="4647097"/>
                  </a:cubicBezTo>
                  <a:cubicBezTo>
                    <a:pt x="822643" y="4670134"/>
                    <a:pt x="840364" y="4702032"/>
                    <a:pt x="840364" y="4721525"/>
                  </a:cubicBezTo>
                  <a:cubicBezTo>
                    <a:pt x="840364" y="4741018"/>
                    <a:pt x="824415" y="4749878"/>
                    <a:pt x="819099" y="4764055"/>
                  </a:cubicBezTo>
                  <a:cubicBezTo>
                    <a:pt x="813783" y="4778232"/>
                    <a:pt x="804922" y="4783548"/>
                    <a:pt x="808466" y="4806585"/>
                  </a:cubicBezTo>
                  <a:cubicBezTo>
                    <a:pt x="812010" y="4829622"/>
                    <a:pt x="849224" y="4884557"/>
                    <a:pt x="840364" y="4902278"/>
                  </a:cubicBezTo>
                  <a:cubicBezTo>
                    <a:pt x="831503" y="4919999"/>
                    <a:pt x="783656" y="4911139"/>
                    <a:pt x="755303" y="4912911"/>
                  </a:cubicBezTo>
                  <a:cubicBezTo>
                    <a:pt x="726950" y="4914683"/>
                    <a:pt x="691508" y="4914683"/>
                    <a:pt x="670243" y="4912911"/>
                  </a:cubicBezTo>
                  <a:cubicBezTo>
                    <a:pt x="648978" y="4911139"/>
                    <a:pt x="634801" y="4909366"/>
                    <a:pt x="627713" y="4902278"/>
                  </a:cubicBezTo>
                  <a:cubicBezTo>
                    <a:pt x="620625" y="4895190"/>
                    <a:pt x="638346" y="4881013"/>
                    <a:pt x="627713" y="4870381"/>
                  </a:cubicBezTo>
                  <a:cubicBezTo>
                    <a:pt x="617080" y="4859749"/>
                    <a:pt x="579866" y="4845571"/>
                    <a:pt x="563917" y="4838483"/>
                  </a:cubicBezTo>
                  <a:cubicBezTo>
                    <a:pt x="547968" y="4831395"/>
                    <a:pt x="546197" y="4833166"/>
                    <a:pt x="532020" y="4827850"/>
                  </a:cubicBezTo>
                  <a:cubicBezTo>
                    <a:pt x="517843" y="4822534"/>
                    <a:pt x="494806" y="4797725"/>
                    <a:pt x="478857" y="4806585"/>
                  </a:cubicBezTo>
                  <a:cubicBezTo>
                    <a:pt x="462908" y="4815445"/>
                    <a:pt x="452276" y="4866836"/>
                    <a:pt x="436327" y="4881013"/>
                  </a:cubicBezTo>
                  <a:cubicBezTo>
                    <a:pt x="420378" y="4895190"/>
                    <a:pt x="395569" y="4898734"/>
                    <a:pt x="383164" y="4891646"/>
                  </a:cubicBezTo>
                  <a:cubicBezTo>
                    <a:pt x="370759" y="4884558"/>
                    <a:pt x="372532" y="4856204"/>
                    <a:pt x="361899" y="4838483"/>
                  </a:cubicBezTo>
                  <a:cubicBezTo>
                    <a:pt x="351266" y="4820762"/>
                    <a:pt x="331773" y="4801269"/>
                    <a:pt x="319368" y="4785320"/>
                  </a:cubicBezTo>
                  <a:cubicBezTo>
                    <a:pt x="306963" y="4769371"/>
                    <a:pt x="308736" y="4760511"/>
                    <a:pt x="287471" y="4742790"/>
                  </a:cubicBezTo>
                  <a:cubicBezTo>
                    <a:pt x="266206" y="4725069"/>
                    <a:pt x="207727" y="4700260"/>
                    <a:pt x="191778" y="4678995"/>
                  </a:cubicBezTo>
                  <a:cubicBezTo>
                    <a:pt x="175829" y="4657730"/>
                    <a:pt x="184690" y="4638236"/>
                    <a:pt x="191778" y="4615199"/>
                  </a:cubicBezTo>
                  <a:cubicBezTo>
                    <a:pt x="198866" y="4592162"/>
                    <a:pt x="221903" y="4560264"/>
                    <a:pt x="234308" y="4540771"/>
                  </a:cubicBezTo>
                  <a:cubicBezTo>
                    <a:pt x="246713" y="4521278"/>
                    <a:pt x="260890" y="4512418"/>
                    <a:pt x="266206" y="4498241"/>
                  </a:cubicBezTo>
                  <a:cubicBezTo>
                    <a:pt x="271522" y="4484064"/>
                    <a:pt x="269750" y="4480520"/>
                    <a:pt x="266206" y="4455711"/>
                  </a:cubicBezTo>
                  <a:cubicBezTo>
                    <a:pt x="262662" y="4430902"/>
                    <a:pt x="255574" y="4360017"/>
                    <a:pt x="244941" y="4349385"/>
                  </a:cubicBezTo>
                  <a:cubicBezTo>
                    <a:pt x="234308" y="4338753"/>
                    <a:pt x="211270" y="4372423"/>
                    <a:pt x="202410" y="4391916"/>
                  </a:cubicBezTo>
                  <a:cubicBezTo>
                    <a:pt x="193550" y="4411409"/>
                    <a:pt x="198866" y="4441534"/>
                    <a:pt x="191778" y="4466343"/>
                  </a:cubicBezTo>
                  <a:cubicBezTo>
                    <a:pt x="184690" y="4491152"/>
                    <a:pt x="172285" y="4524822"/>
                    <a:pt x="159880" y="4540771"/>
                  </a:cubicBezTo>
                  <a:cubicBezTo>
                    <a:pt x="147475" y="4556720"/>
                    <a:pt x="126210" y="4546088"/>
                    <a:pt x="117350" y="4562037"/>
                  </a:cubicBezTo>
                  <a:cubicBezTo>
                    <a:pt x="108490" y="4577986"/>
                    <a:pt x="112033" y="4620515"/>
                    <a:pt x="106717" y="4636464"/>
                  </a:cubicBezTo>
                  <a:cubicBezTo>
                    <a:pt x="101401" y="4652413"/>
                    <a:pt x="97857" y="4648870"/>
                    <a:pt x="85452" y="4657730"/>
                  </a:cubicBezTo>
                  <a:cubicBezTo>
                    <a:pt x="73047" y="4666590"/>
                    <a:pt x="46466" y="4671906"/>
                    <a:pt x="32289" y="4689627"/>
                  </a:cubicBezTo>
                  <a:cubicBezTo>
                    <a:pt x="18112" y="4707348"/>
                    <a:pt x="-3152" y="4737474"/>
                    <a:pt x="392" y="4764055"/>
                  </a:cubicBezTo>
                  <a:cubicBezTo>
                    <a:pt x="3936" y="4790636"/>
                    <a:pt x="39377" y="4822535"/>
                    <a:pt x="53554" y="4849116"/>
                  </a:cubicBezTo>
                  <a:cubicBezTo>
                    <a:pt x="67731" y="4875697"/>
                    <a:pt x="74819" y="4891645"/>
                    <a:pt x="85452" y="4923543"/>
                  </a:cubicBezTo>
                  <a:cubicBezTo>
                    <a:pt x="96085" y="4955441"/>
                    <a:pt x="99629" y="4990884"/>
                    <a:pt x="117350" y="5040502"/>
                  </a:cubicBezTo>
                  <a:cubicBezTo>
                    <a:pt x="135071" y="5090120"/>
                    <a:pt x="175829" y="5175181"/>
                    <a:pt x="191778" y="5221255"/>
                  </a:cubicBezTo>
                  <a:cubicBezTo>
                    <a:pt x="207727" y="5267329"/>
                    <a:pt x="211271" y="5297455"/>
                    <a:pt x="213043" y="5316948"/>
                  </a:cubicBezTo>
                  <a:cubicBezTo>
                    <a:pt x="214815" y="5336441"/>
                    <a:pt x="211270" y="5279734"/>
                    <a:pt x="202410" y="5338213"/>
                  </a:cubicBezTo>
                </a:path>
              </a:pathLst>
            </a:cu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Georgia" panose="02040502050405020303" pitchFamily="18" charset="0"/>
                <a:ea typeface="ＭＳ Ｐ明朝" panose="02020600040205080304" pitchFamily="18" charset="-128"/>
              </a:endParaRPr>
            </a:p>
          </p:txBody>
        </p:sp>
        <p:sp>
          <p:nvSpPr>
            <p:cNvPr id="139" name="フリーフォーム 138"/>
            <p:cNvSpPr/>
            <p:nvPr/>
          </p:nvSpPr>
          <p:spPr>
            <a:xfrm>
              <a:off x="3902149" y="4104167"/>
              <a:ext cx="5637913" cy="2735923"/>
            </a:xfrm>
            <a:custGeom>
              <a:avLst/>
              <a:gdLst>
                <a:gd name="connsiteX0" fmla="*/ 0 w 5637913"/>
                <a:gd name="connsiteY0" fmla="*/ 1967024 h 2735923"/>
                <a:gd name="connsiteX1" fmla="*/ 42530 w 5637913"/>
                <a:gd name="connsiteY1" fmla="*/ 2073349 h 2735923"/>
                <a:gd name="connsiteX2" fmla="*/ 127591 w 5637913"/>
                <a:gd name="connsiteY2" fmla="*/ 2073349 h 2735923"/>
                <a:gd name="connsiteX3" fmla="*/ 223284 w 5637913"/>
                <a:gd name="connsiteY3" fmla="*/ 2041452 h 2735923"/>
                <a:gd name="connsiteX4" fmla="*/ 287079 w 5637913"/>
                <a:gd name="connsiteY4" fmla="*/ 2169042 h 2735923"/>
                <a:gd name="connsiteX5" fmla="*/ 297711 w 5637913"/>
                <a:gd name="connsiteY5" fmla="*/ 2232838 h 2735923"/>
                <a:gd name="connsiteX6" fmla="*/ 361507 w 5637913"/>
                <a:gd name="connsiteY6" fmla="*/ 2264735 h 2735923"/>
                <a:gd name="connsiteX7" fmla="*/ 457200 w 5637913"/>
                <a:gd name="connsiteY7" fmla="*/ 2243470 h 2735923"/>
                <a:gd name="connsiteX8" fmla="*/ 531628 w 5637913"/>
                <a:gd name="connsiteY8" fmla="*/ 2317898 h 2735923"/>
                <a:gd name="connsiteX9" fmla="*/ 531628 w 5637913"/>
                <a:gd name="connsiteY9" fmla="*/ 2349796 h 2735923"/>
                <a:gd name="connsiteX10" fmla="*/ 584791 w 5637913"/>
                <a:gd name="connsiteY10" fmla="*/ 2360428 h 2735923"/>
                <a:gd name="connsiteX11" fmla="*/ 627321 w 5637913"/>
                <a:gd name="connsiteY11" fmla="*/ 2307266 h 2735923"/>
                <a:gd name="connsiteX12" fmla="*/ 723014 w 5637913"/>
                <a:gd name="connsiteY12" fmla="*/ 2349796 h 2735923"/>
                <a:gd name="connsiteX13" fmla="*/ 776177 w 5637913"/>
                <a:gd name="connsiteY13" fmla="*/ 2434856 h 2735923"/>
                <a:gd name="connsiteX14" fmla="*/ 861237 w 5637913"/>
                <a:gd name="connsiteY14" fmla="*/ 2488019 h 2735923"/>
                <a:gd name="connsiteX15" fmla="*/ 925032 w 5637913"/>
                <a:gd name="connsiteY15" fmla="*/ 2530549 h 2735923"/>
                <a:gd name="connsiteX16" fmla="*/ 988828 w 5637913"/>
                <a:gd name="connsiteY16" fmla="*/ 2488019 h 2735923"/>
                <a:gd name="connsiteX17" fmla="*/ 1010093 w 5637913"/>
                <a:gd name="connsiteY17" fmla="*/ 2402959 h 2735923"/>
                <a:gd name="connsiteX18" fmla="*/ 1020725 w 5637913"/>
                <a:gd name="connsiteY18" fmla="*/ 2317898 h 2735923"/>
                <a:gd name="connsiteX19" fmla="*/ 967563 w 5637913"/>
                <a:gd name="connsiteY19" fmla="*/ 2232838 h 2735923"/>
                <a:gd name="connsiteX20" fmla="*/ 946298 w 5637913"/>
                <a:gd name="connsiteY20" fmla="*/ 2158410 h 2735923"/>
                <a:gd name="connsiteX21" fmla="*/ 956930 w 5637913"/>
                <a:gd name="connsiteY21" fmla="*/ 2094614 h 2735923"/>
                <a:gd name="connsiteX22" fmla="*/ 1010093 w 5637913"/>
                <a:gd name="connsiteY22" fmla="*/ 2052084 h 2735923"/>
                <a:gd name="connsiteX23" fmla="*/ 1073888 w 5637913"/>
                <a:gd name="connsiteY23" fmla="*/ 2073349 h 2735923"/>
                <a:gd name="connsiteX24" fmla="*/ 1052623 w 5637913"/>
                <a:gd name="connsiteY24" fmla="*/ 2137145 h 2735923"/>
                <a:gd name="connsiteX25" fmla="*/ 1052623 w 5637913"/>
                <a:gd name="connsiteY25" fmla="*/ 2190307 h 2735923"/>
                <a:gd name="connsiteX26" fmla="*/ 1052623 w 5637913"/>
                <a:gd name="connsiteY26" fmla="*/ 2264735 h 2735923"/>
                <a:gd name="connsiteX27" fmla="*/ 1052623 w 5637913"/>
                <a:gd name="connsiteY27" fmla="*/ 2339163 h 2735923"/>
                <a:gd name="connsiteX28" fmla="*/ 1041991 w 5637913"/>
                <a:gd name="connsiteY28" fmla="*/ 2434856 h 2735923"/>
                <a:gd name="connsiteX29" fmla="*/ 1031358 w 5637913"/>
                <a:gd name="connsiteY29" fmla="*/ 2498652 h 2735923"/>
                <a:gd name="connsiteX30" fmla="*/ 1105786 w 5637913"/>
                <a:gd name="connsiteY30" fmla="*/ 2573080 h 2735923"/>
                <a:gd name="connsiteX31" fmla="*/ 1169581 w 5637913"/>
                <a:gd name="connsiteY31" fmla="*/ 2647507 h 2735923"/>
                <a:gd name="connsiteX32" fmla="*/ 1254642 w 5637913"/>
                <a:gd name="connsiteY32" fmla="*/ 2711303 h 2735923"/>
                <a:gd name="connsiteX33" fmla="*/ 1318437 w 5637913"/>
                <a:gd name="connsiteY33" fmla="*/ 2732568 h 2735923"/>
                <a:gd name="connsiteX34" fmla="*/ 1392865 w 5637913"/>
                <a:gd name="connsiteY34" fmla="*/ 2732568 h 2735923"/>
                <a:gd name="connsiteX35" fmla="*/ 1456660 w 5637913"/>
                <a:gd name="connsiteY35" fmla="*/ 2700670 h 2735923"/>
                <a:gd name="connsiteX36" fmla="*/ 1562986 w 5637913"/>
                <a:gd name="connsiteY36" fmla="*/ 2711303 h 2735923"/>
                <a:gd name="connsiteX37" fmla="*/ 1637414 w 5637913"/>
                <a:gd name="connsiteY37" fmla="*/ 2658140 h 2735923"/>
                <a:gd name="connsiteX38" fmla="*/ 1637414 w 5637913"/>
                <a:gd name="connsiteY38" fmla="*/ 2615610 h 2735923"/>
                <a:gd name="connsiteX39" fmla="*/ 1711842 w 5637913"/>
                <a:gd name="connsiteY39" fmla="*/ 2562447 h 2735923"/>
                <a:gd name="connsiteX40" fmla="*/ 1754372 w 5637913"/>
                <a:gd name="connsiteY40" fmla="*/ 2562447 h 2735923"/>
                <a:gd name="connsiteX41" fmla="*/ 1796902 w 5637913"/>
                <a:gd name="connsiteY41" fmla="*/ 2594345 h 2735923"/>
                <a:gd name="connsiteX42" fmla="*/ 1871330 w 5637913"/>
                <a:gd name="connsiteY42" fmla="*/ 2456121 h 2735923"/>
                <a:gd name="connsiteX43" fmla="*/ 1935125 w 5637913"/>
                <a:gd name="connsiteY43" fmla="*/ 2551814 h 2735923"/>
                <a:gd name="connsiteX44" fmla="*/ 1988288 w 5637913"/>
                <a:gd name="connsiteY44" fmla="*/ 2541182 h 2735923"/>
                <a:gd name="connsiteX45" fmla="*/ 2083981 w 5637913"/>
                <a:gd name="connsiteY45" fmla="*/ 2519917 h 2735923"/>
                <a:gd name="connsiteX46" fmla="*/ 2147777 w 5637913"/>
                <a:gd name="connsiteY46" fmla="*/ 2551814 h 2735923"/>
                <a:gd name="connsiteX47" fmla="*/ 2254102 w 5637913"/>
                <a:gd name="connsiteY47" fmla="*/ 2594345 h 2735923"/>
                <a:gd name="connsiteX48" fmla="*/ 2243470 w 5637913"/>
                <a:gd name="connsiteY48" fmla="*/ 2488019 h 2735923"/>
                <a:gd name="connsiteX49" fmla="*/ 2349795 w 5637913"/>
                <a:gd name="connsiteY49" fmla="*/ 2466754 h 2735923"/>
                <a:gd name="connsiteX50" fmla="*/ 2445488 w 5637913"/>
                <a:gd name="connsiteY50" fmla="*/ 2466754 h 2735923"/>
                <a:gd name="connsiteX51" fmla="*/ 2562446 w 5637913"/>
                <a:gd name="connsiteY51" fmla="*/ 2413591 h 2735923"/>
                <a:gd name="connsiteX52" fmla="*/ 2626242 w 5637913"/>
                <a:gd name="connsiteY52" fmla="*/ 2413591 h 2735923"/>
                <a:gd name="connsiteX53" fmla="*/ 2732567 w 5637913"/>
                <a:gd name="connsiteY53" fmla="*/ 2402959 h 2735923"/>
                <a:gd name="connsiteX54" fmla="*/ 2668772 w 5637913"/>
                <a:gd name="connsiteY54" fmla="*/ 2339163 h 2735923"/>
                <a:gd name="connsiteX55" fmla="*/ 2860158 w 5637913"/>
                <a:gd name="connsiteY55" fmla="*/ 2339163 h 2735923"/>
                <a:gd name="connsiteX56" fmla="*/ 2913321 w 5637913"/>
                <a:gd name="connsiteY56" fmla="*/ 2296633 h 2735923"/>
                <a:gd name="connsiteX57" fmla="*/ 2977116 w 5637913"/>
                <a:gd name="connsiteY57" fmla="*/ 2264735 h 2735923"/>
                <a:gd name="connsiteX58" fmla="*/ 3019646 w 5637913"/>
                <a:gd name="connsiteY58" fmla="*/ 2222205 h 2735923"/>
                <a:gd name="connsiteX59" fmla="*/ 3211032 w 5637913"/>
                <a:gd name="connsiteY59" fmla="*/ 2296633 h 2735923"/>
                <a:gd name="connsiteX60" fmla="*/ 3221665 w 5637913"/>
                <a:gd name="connsiteY60" fmla="*/ 2328531 h 2735923"/>
                <a:gd name="connsiteX61" fmla="*/ 3327991 w 5637913"/>
                <a:gd name="connsiteY61" fmla="*/ 2307266 h 2735923"/>
                <a:gd name="connsiteX62" fmla="*/ 3413051 w 5637913"/>
                <a:gd name="connsiteY62" fmla="*/ 2360428 h 2735923"/>
                <a:gd name="connsiteX63" fmla="*/ 3466214 w 5637913"/>
                <a:gd name="connsiteY63" fmla="*/ 2286000 h 2735923"/>
                <a:gd name="connsiteX64" fmla="*/ 3540642 w 5637913"/>
                <a:gd name="connsiteY64" fmla="*/ 2254103 h 2735923"/>
                <a:gd name="connsiteX65" fmla="*/ 3636335 w 5637913"/>
                <a:gd name="connsiteY65" fmla="*/ 2211573 h 2735923"/>
                <a:gd name="connsiteX66" fmla="*/ 3817088 w 5637913"/>
                <a:gd name="connsiteY66" fmla="*/ 2211573 h 2735923"/>
                <a:gd name="connsiteX67" fmla="*/ 3891516 w 5637913"/>
                <a:gd name="connsiteY67" fmla="*/ 2169042 h 2735923"/>
                <a:gd name="connsiteX68" fmla="*/ 4040372 w 5637913"/>
                <a:gd name="connsiteY68" fmla="*/ 2190307 h 2735923"/>
                <a:gd name="connsiteX69" fmla="*/ 4114800 w 5637913"/>
                <a:gd name="connsiteY69" fmla="*/ 2232838 h 2735923"/>
                <a:gd name="connsiteX70" fmla="*/ 4231758 w 5637913"/>
                <a:gd name="connsiteY70" fmla="*/ 2232838 h 2735923"/>
                <a:gd name="connsiteX71" fmla="*/ 4359349 w 5637913"/>
                <a:gd name="connsiteY71" fmla="*/ 2254103 h 2735923"/>
                <a:gd name="connsiteX72" fmla="*/ 4433777 w 5637913"/>
                <a:gd name="connsiteY72" fmla="*/ 2264735 h 2735923"/>
                <a:gd name="connsiteX73" fmla="*/ 4486939 w 5637913"/>
                <a:gd name="connsiteY73" fmla="*/ 2264735 h 2735923"/>
                <a:gd name="connsiteX74" fmla="*/ 4550735 w 5637913"/>
                <a:gd name="connsiteY74" fmla="*/ 2296633 h 2735923"/>
                <a:gd name="connsiteX75" fmla="*/ 4635795 w 5637913"/>
                <a:gd name="connsiteY75" fmla="*/ 2254103 h 2735923"/>
                <a:gd name="connsiteX76" fmla="*/ 4731488 w 5637913"/>
                <a:gd name="connsiteY76" fmla="*/ 2179675 h 2735923"/>
                <a:gd name="connsiteX77" fmla="*/ 4944139 w 5637913"/>
                <a:gd name="connsiteY77" fmla="*/ 2243470 h 2735923"/>
                <a:gd name="connsiteX78" fmla="*/ 4986670 w 5637913"/>
                <a:gd name="connsiteY78" fmla="*/ 2179675 h 2735923"/>
                <a:gd name="connsiteX79" fmla="*/ 5039832 w 5637913"/>
                <a:gd name="connsiteY79" fmla="*/ 2275368 h 2735923"/>
                <a:gd name="connsiteX80" fmla="*/ 5146158 w 5637913"/>
                <a:gd name="connsiteY80" fmla="*/ 2328531 h 2735923"/>
                <a:gd name="connsiteX81" fmla="*/ 5209953 w 5637913"/>
                <a:gd name="connsiteY81" fmla="*/ 2286000 h 2735923"/>
                <a:gd name="connsiteX82" fmla="*/ 5241851 w 5637913"/>
                <a:gd name="connsiteY82" fmla="*/ 2200940 h 2735923"/>
                <a:gd name="connsiteX83" fmla="*/ 5358809 w 5637913"/>
                <a:gd name="connsiteY83" fmla="*/ 2169042 h 2735923"/>
                <a:gd name="connsiteX84" fmla="*/ 5454502 w 5637913"/>
                <a:gd name="connsiteY84" fmla="*/ 2349796 h 2735923"/>
                <a:gd name="connsiteX85" fmla="*/ 5507665 w 5637913"/>
                <a:gd name="connsiteY85" fmla="*/ 2371061 h 2735923"/>
                <a:gd name="connsiteX86" fmla="*/ 5613991 w 5637913"/>
                <a:gd name="connsiteY86" fmla="*/ 2413591 h 2735923"/>
                <a:gd name="connsiteX87" fmla="*/ 5635256 w 5637913"/>
                <a:gd name="connsiteY87" fmla="*/ 2371061 h 2735923"/>
                <a:gd name="connsiteX88" fmla="*/ 5571460 w 5637913"/>
                <a:gd name="connsiteY88" fmla="*/ 2317898 h 2735923"/>
                <a:gd name="connsiteX89" fmla="*/ 5518298 w 5637913"/>
                <a:gd name="connsiteY89" fmla="*/ 2254103 h 2735923"/>
                <a:gd name="connsiteX90" fmla="*/ 5465135 w 5637913"/>
                <a:gd name="connsiteY90" fmla="*/ 2179675 h 2735923"/>
                <a:gd name="connsiteX91" fmla="*/ 5369442 w 5637913"/>
                <a:gd name="connsiteY91" fmla="*/ 2094614 h 2735923"/>
                <a:gd name="connsiteX92" fmla="*/ 5348177 w 5637913"/>
                <a:gd name="connsiteY92" fmla="*/ 2073349 h 2735923"/>
                <a:gd name="connsiteX93" fmla="*/ 5284381 w 5637913"/>
                <a:gd name="connsiteY93" fmla="*/ 1967024 h 2735923"/>
                <a:gd name="connsiteX94" fmla="*/ 5220586 w 5637913"/>
                <a:gd name="connsiteY94" fmla="*/ 1903228 h 2735923"/>
                <a:gd name="connsiteX95" fmla="*/ 5114260 w 5637913"/>
                <a:gd name="connsiteY95" fmla="*/ 1786270 h 2735923"/>
                <a:gd name="connsiteX96" fmla="*/ 5039832 w 5637913"/>
                <a:gd name="connsiteY96" fmla="*/ 1690577 h 2735923"/>
                <a:gd name="connsiteX97" fmla="*/ 4986670 w 5637913"/>
                <a:gd name="connsiteY97" fmla="*/ 1616149 h 2735923"/>
                <a:gd name="connsiteX98" fmla="*/ 4965404 w 5637913"/>
                <a:gd name="connsiteY98" fmla="*/ 1467293 h 2735923"/>
                <a:gd name="connsiteX99" fmla="*/ 4912242 w 5637913"/>
                <a:gd name="connsiteY99" fmla="*/ 1382233 h 2735923"/>
                <a:gd name="connsiteX100" fmla="*/ 4837814 w 5637913"/>
                <a:gd name="connsiteY100" fmla="*/ 1297173 h 2735923"/>
                <a:gd name="connsiteX101" fmla="*/ 4784651 w 5637913"/>
                <a:gd name="connsiteY101" fmla="*/ 1254642 h 2735923"/>
                <a:gd name="connsiteX102" fmla="*/ 4667693 w 5637913"/>
                <a:gd name="connsiteY102" fmla="*/ 1233377 h 2735923"/>
                <a:gd name="connsiteX103" fmla="*/ 4540102 w 5637913"/>
                <a:gd name="connsiteY103" fmla="*/ 1244010 h 2735923"/>
                <a:gd name="connsiteX104" fmla="*/ 4412511 w 5637913"/>
                <a:gd name="connsiteY104" fmla="*/ 1190847 h 2735923"/>
                <a:gd name="connsiteX105" fmla="*/ 4348716 w 5637913"/>
                <a:gd name="connsiteY105" fmla="*/ 1148317 h 2735923"/>
                <a:gd name="connsiteX106" fmla="*/ 4263656 w 5637913"/>
                <a:gd name="connsiteY106" fmla="*/ 1127052 h 2735923"/>
                <a:gd name="connsiteX107" fmla="*/ 4167963 w 5637913"/>
                <a:gd name="connsiteY107" fmla="*/ 1169582 h 2735923"/>
                <a:gd name="connsiteX108" fmla="*/ 4082902 w 5637913"/>
                <a:gd name="connsiteY108" fmla="*/ 1095154 h 2735923"/>
                <a:gd name="connsiteX109" fmla="*/ 4029739 w 5637913"/>
                <a:gd name="connsiteY109" fmla="*/ 1063256 h 2735923"/>
                <a:gd name="connsiteX110" fmla="*/ 3912781 w 5637913"/>
                <a:gd name="connsiteY110" fmla="*/ 1052624 h 2735923"/>
                <a:gd name="connsiteX111" fmla="*/ 3817088 w 5637913"/>
                <a:gd name="connsiteY111" fmla="*/ 988828 h 2735923"/>
                <a:gd name="connsiteX112" fmla="*/ 3753293 w 5637913"/>
                <a:gd name="connsiteY112" fmla="*/ 935666 h 2735923"/>
                <a:gd name="connsiteX113" fmla="*/ 3646967 w 5637913"/>
                <a:gd name="connsiteY113" fmla="*/ 850605 h 2735923"/>
                <a:gd name="connsiteX114" fmla="*/ 3572539 w 5637913"/>
                <a:gd name="connsiteY114" fmla="*/ 797442 h 2735923"/>
                <a:gd name="connsiteX115" fmla="*/ 3551274 w 5637913"/>
                <a:gd name="connsiteY115" fmla="*/ 712382 h 2735923"/>
                <a:gd name="connsiteX116" fmla="*/ 3508744 w 5637913"/>
                <a:gd name="connsiteY116" fmla="*/ 595424 h 2735923"/>
                <a:gd name="connsiteX117" fmla="*/ 3487479 w 5637913"/>
                <a:gd name="connsiteY117" fmla="*/ 510363 h 2735923"/>
                <a:gd name="connsiteX118" fmla="*/ 3444949 w 5637913"/>
                <a:gd name="connsiteY118" fmla="*/ 446568 h 2735923"/>
                <a:gd name="connsiteX119" fmla="*/ 3327991 w 5637913"/>
                <a:gd name="connsiteY119" fmla="*/ 404038 h 2735923"/>
                <a:gd name="connsiteX120" fmla="*/ 3232298 w 5637913"/>
                <a:gd name="connsiteY120" fmla="*/ 361507 h 2735923"/>
                <a:gd name="connsiteX121" fmla="*/ 3104707 w 5637913"/>
                <a:gd name="connsiteY121" fmla="*/ 340242 h 2735923"/>
                <a:gd name="connsiteX122" fmla="*/ 3040911 w 5637913"/>
                <a:gd name="connsiteY122" fmla="*/ 276447 h 2735923"/>
                <a:gd name="connsiteX123" fmla="*/ 2966484 w 5637913"/>
                <a:gd name="connsiteY123" fmla="*/ 297712 h 2735923"/>
                <a:gd name="connsiteX124" fmla="*/ 2870791 w 5637913"/>
                <a:gd name="connsiteY124" fmla="*/ 372140 h 2735923"/>
                <a:gd name="connsiteX125" fmla="*/ 2764465 w 5637913"/>
                <a:gd name="connsiteY125" fmla="*/ 382773 h 2735923"/>
                <a:gd name="connsiteX126" fmla="*/ 2636874 w 5637913"/>
                <a:gd name="connsiteY126" fmla="*/ 382773 h 2735923"/>
                <a:gd name="connsiteX127" fmla="*/ 2519916 w 5637913"/>
                <a:gd name="connsiteY127" fmla="*/ 340242 h 2735923"/>
                <a:gd name="connsiteX128" fmla="*/ 2477386 w 5637913"/>
                <a:gd name="connsiteY128" fmla="*/ 276447 h 2735923"/>
                <a:gd name="connsiteX129" fmla="*/ 2381693 w 5637913"/>
                <a:gd name="connsiteY129" fmla="*/ 223284 h 2735923"/>
                <a:gd name="connsiteX130" fmla="*/ 2275367 w 5637913"/>
                <a:gd name="connsiteY130" fmla="*/ 180754 h 2735923"/>
                <a:gd name="connsiteX131" fmla="*/ 2062716 w 5637913"/>
                <a:gd name="connsiteY131" fmla="*/ 116959 h 2735923"/>
                <a:gd name="connsiteX132" fmla="*/ 2041451 w 5637913"/>
                <a:gd name="connsiteY132" fmla="*/ 31898 h 2735923"/>
                <a:gd name="connsiteX133" fmla="*/ 2052084 w 5637913"/>
                <a:gd name="connsiteY133" fmla="*/ 0 h 2735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Lst>
              <a:rect l="l" t="t" r="r" b="b"/>
              <a:pathLst>
                <a:path w="5637913" h="2735923">
                  <a:moveTo>
                    <a:pt x="0" y="1967024"/>
                  </a:moveTo>
                  <a:cubicBezTo>
                    <a:pt x="10632" y="2011326"/>
                    <a:pt x="21265" y="2055628"/>
                    <a:pt x="42530" y="2073349"/>
                  </a:cubicBezTo>
                  <a:cubicBezTo>
                    <a:pt x="63795" y="2091070"/>
                    <a:pt x="97465" y="2078665"/>
                    <a:pt x="127591" y="2073349"/>
                  </a:cubicBezTo>
                  <a:cubicBezTo>
                    <a:pt x="157717" y="2068033"/>
                    <a:pt x="196703" y="2025503"/>
                    <a:pt x="223284" y="2041452"/>
                  </a:cubicBezTo>
                  <a:cubicBezTo>
                    <a:pt x="249865" y="2057401"/>
                    <a:pt x="274675" y="2137144"/>
                    <a:pt x="287079" y="2169042"/>
                  </a:cubicBezTo>
                  <a:cubicBezTo>
                    <a:pt x="299483" y="2200940"/>
                    <a:pt x="285306" y="2216889"/>
                    <a:pt x="297711" y="2232838"/>
                  </a:cubicBezTo>
                  <a:cubicBezTo>
                    <a:pt x="310116" y="2248787"/>
                    <a:pt x="334926" y="2262963"/>
                    <a:pt x="361507" y="2264735"/>
                  </a:cubicBezTo>
                  <a:cubicBezTo>
                    <a:pt x="388088" y="2266507"/>
                    <a:pt x="428847" y="2234610"/>
                    <a:pt x="457200" y="2243470"/>
                  </a:cubicBezTo>
                  <a:cubicBezTo>
                    <a:pt x="485554" y="2252331"/>
                    <a:pt x="519223" y="2300177"/>
                    <a:pt x="531628" y="2317898"/>
                  </a:cubicBezTo>
                  <a:cubicBezTo>
                    <a:pt x="544033" y="2335619"/>
                    <a:pt x="522767" y="2342708"/>
                    <a:pt x="531628" y="2349796"/>
                  </a:cubicBezTo>
                  <a:cubicBezTo>
                    <a:pt x="540489" y="2356884"/>
                    <a:pt x="568842" y="2367516"/>
                    <a:pt x="584791" y="2360428"/>
                  </a:cubicBezTo>
                  <a:cubicBezTo>
                    <a:pt x="600740" y="2353340"/>
                    <a:pt x="604284" y="2309038"/>
                    <a:pt x="627321" y="2307266"/>
                  </a:cubicBezTo>
                  <a:cubicBezTo>
                    <a:pt x="650358" y="2305494"/>
                    <a:pt x="698205" y="2328531"/>
                    <a:pt x="723014" y="2349796"/>
                  </a:cubicBezTo>
                  <a:cubicBezTo>
                    <a:pt x="747823" y="2371061"/>
                    <a:pt x="753140" y="2411819"/>
                    <a:pt x="776177" y="2434856"/>
                  </a:cubicBezTo>
                  <a:cubicBezTo>
                    <a:pt x="799214" y="2457893"/>
                    <a:pt x="836428" y="2472070"/>
                    <a:pt x="861237" y="2488019"/>
                  </a:cubicBezTo>
                  <a:cubicBezTo>
                    <a:pt x="886046" y="2503968"/>
                    <a:pt x="903767" y="2530549"/>
                    <a:pt x="925032" y="2530549"/>
                  </a:cubicBezTo>
                  <a:cubicBezTo>
                    <a:pt x="946297" y="2530549"/>
                    <a:pt x="974651" y="2509284"/>
                    <a:pt x="988828" y="2488019"/>
                  </a:cubicBezTo>
                  <a:cubicBezTo>
                    <a:pt x="1003005" y="2466754"/>
                    <a:pt x="1004777" y="2431313"/>
                    <a:pt x="1010093" y="2402959"/>
                  </a:cubicBezTo>
                  <a:cubicBezTo>
                    <a:pt x="1015409" y="2374606"/>
                    <a:pt x="1027813" y="2346251"/>
                    <a:pt x="1020725" y="2317898"/>
                  </a:cubicBezTo>
                  <a:cubicBezTo>
                    <a:pt x="1013637" y="2289545"/>
                    <a:pt x="979967" y="2259419"/>
                    <a:pt x="967563" y="2232838"/>
                  </a:cubicBezTo>
                  <a:cubicBezTo>
                    <a:pt x="955159" y="2206257"/>
                    <a:pt x="948070" y="2181447"/>
                    <a:pt x="946298" y="2158410"/>
                  </a:cubicBezTo>
                  <a:cubicBezTo>
                    <a:pt x="944526" y="2135373"/>
                    <a:pt x="946298" y="2112335"/>
                    <a:pt x="956930" y="2094614"/>
                  </a:cubicBezTo>
                  <a:cubicBezTo>
                    <a:pt x="967562" y="2076893"/>
                    <a:pt x="990600" y="2055628"/>
                    <a:pt x="1010093" y="2052084"/>
                  </a:cubicBezTo>
                  <a:cubicBezTo>
                    <a:pt x="1029586" y="2048540"/>
                    <a:pt x="1066800" y="2059172"/>
                    <a:pt x="1073888" y="2073349"/>
                  </a:cubicBezTo>
                  <a:cubicBezTo>
                    <a:pt x="1080976" y="2087526"/>
                    <a:pt x="1056167" y="2117652"/>
                    <a:pt x="1052623" y="2137145"/>
                  </a:cubicBezTo>
                  <a:cubicBezTo>
                    <a:pt x="1049079" y="2156638"/>
                    <a:pt x="1052623" y="2190307"/>
                    <a:pt x="1052623" y="2190307"/>
                  </a:cubicBezTo>
                  <a:lnTo>
                    <a:pt x="1052623" y="2264735"/>
                  </a:lnTo>
                  <a:cubicBezTo>
                    <a:pt x="1052623" y="2289544"/>
                    <a:pt x="1054395" y="2310810"/>
                    <a:pt x="1052623" y="2339163"/>
                  </a:cubicBezTo>
                  <a:cubicBezTo>
                    <a:pt x="1050851" y="2367516"/>
                    <a:pt x="1045535" y="2408275"/>
                    <a:pt x="1041991" y="2434856"/>
                  </a:cubicBezTo>
                  <a:cubicBezTo>
                    <a:pt x="1038447" y="2461437"/>
                    <a:pt x="1020726" y="2475615"/>
                    <a:pt x="1031358" y="2498652"/>
                  </a:cubicBezTo>
                  <a:cubicBezTo>
                    <a:pt x="1041990" y="2521689"/>
                    <a:pt x="1082749" y="2548271"/>
                    <a:pt x="1105786" y="2573080"/>
                  </a:cubicBezTo>
                  <a:cubicBezTo>
                    <a:pt x="1128823" y="2597889"/>
                    <a:pt x="1144772" y="2624470"/>
                    <a:pt x="1169581" y="2647507"/>
                  </a:cubicBezTo>
                  <a:cubicBezTo>
                    <a:pt x="1194390" y="2670544"/>
                    <a:pt x="1229833" y="2697126"/>
                    <a:pt x="1254642" y="2711303"/>
                  </a:cubicBezTo>
                  <a:cubicBezTo>
                    <a:pt x="1279451" y="2725480"/>
                    <a:pt x="1295400" y="2729024"/>
                    <a:pt x="1318437" y="2732568"/>
                  </a:cubicBezTo>
                  <a:cubicBezTo>
                    <a:pt x="1341474" y="2736112"/>
                    <a:pt x="1369828" y="2737884"/>
                    <a:pt x="1392865" y="2732568"/>
                  </a:cubicBezTo>
                  <a:cubicBezTo>
                    <a:pt x="1415902" y="2727252"/>
                    <a:pt x="1428307" y="2704214"/>
                    <a:pt x="1456660" y="2700670"/>
                  </a:cubicBezTo>
                  <a:cubicBezTo>
                    <a:pt x="1485013" y="2697126"/>
                    <a:pt x="1532860" y="2718391"/>
                    <a:pt x="1562986" y="2711303"/>
                  </a:cubicBezTo>
                  <a:cubicBezTo>
                    <a:pt x="1593112" y="2704215"/>
                    <a:pt x="1625009" y="2674089"/>
                    <a:pt x="1637414" y="2658140"/>
                  </a:cubicBezTo>
                  <a:cubicBezTo>
                    <a:pt x="1649819" y="2642191"/>
                    <a:pt x="1625009" y="2631559"/>
                    <a:pt x="1637414" y="2615610"/>
                  </a:cubicBezTo>
                  <a:cubicBezTo>
                    <a:pt x="1649819" y="2599661"/>
                    <a:pt x="1692349" y="2571307"/>
                    <a:pt x="1711842" y="2562447"/>
                  </a:cubicBezTo>
                  <a:cubicBezTo>
                    <a:pt x="1731335" y="2553587"/>
                    <a:pt x="1740195" y="2557131"/>
                    <a:pt x="1754372" y="2562447"/>
                  </a:cubicBezTo>
                  <a:cubicBezTo>
                    <a:pt x="1768549" y="2567763"/>
                    <a:pt x="1777409" y="2612066"/>
                    <a:pt x="1796902" y="2594345"/>
                  </a:cubicBezTo>
                  <a:cubicBezTo>
                    <a:pt x="1816395" y="2576624"/>
                    <a:pt x="1848293" y="2463209"/>
                    <a:pt x="1871330" y="2456121"/>
                  </a:cubicBezTo>
                  <a:cubicBezTo>
                    <a:pt x="1894367" y="2449033"/>
                    <a:pt x="1915632" y="2537637"/>
                    <a:pt x="1935125" y="2551814"/>
                  </a:cubicBezTo>
                  <a:cubicBezTo>
                    <a:pt x="1954618" y="2565991"/>
                    <a:pt x="1988288" y="2541182"/>
                    <a:pt x="1988288" y="2541182"/>
                  </a:cubicBezTo>
                  <a:cubicBezTo>
                    <a:pt x="2013097" y="2535866"/>
                    <a:pt x="2057400" y="2518145"/>
                    <a:pt x="2083981" y="2519917"/>
                  </a:cubicBezTo>
                  <a:cubicBezTo>
                    <a:pt x="2110562" y="2521689"/>
                    <a:pt x="2119424" y="2539409"/>
                    <a:pt x="2147777" y="2551814"/>
                  </a:cubicBezTo>
                  <a:cubicBezTo>
                    <a:pt x="2176130" y="2564219"/>
                    <a:pt x="2238153" y="2604977"/>
                    <a:pt x="2254102" y="2594345"/>
                  </a:cubicBezTo>
                  <a:cubicBezTo>
                    <a:pt x="2270051" y="2583713"/>
                    <a:pt x="2227521" y="2509284"/>
                    <a:pt x="2243470" y="2488019"/>
                  </a:cubicBezTo>
                  <a:cubicBezTo>
                    <a:pt x="2259419" y="2466754"/>
                    <a:pt x="2316125" y="2470298"/>
                    <a:pt x="2349795" y="2466754"/>
                  </a:cubicBezTo>
                  <a:cubicBezTo>
                    <a:pt x="2383465" y="2463210"/>
                    <a:pt x="2410046" y="2475614"/>
                    <a:pt x="2445488" y="2466754"/>
                  </a:cubicBezTo>
                  <a:cubicBezTo>
                    <a:pt x="2480930" y="2457894"/>
                    <a:pt x="2532320" y="2422452"/>
                    <a:pt x="2562446" y="2413591"/>
                  </a:cubicBezTo>
                  <a:cubicBezTo>
                    <a:pt x="2592572" y="2404731"/>
                    <a:pt x="2597889" y="2415363"/>
                    <a:pt x="2626242" y="2413591"/>
                  </a:cubicBezTo>
                  <a:cubicBezTo>
                    <a:pt x="2654595" y="2411819"/>
                    <a:pt x="2725479" y="2415364"/>
                    <a:pt x="2732567" y="2402959"/>
                  </a:cubicBezTo>
                  <a:cubicBezTo>
                    <a:pt x="2739655" y="2390554"/>
                    <a:pt x="2647507" y="2349796"/>
                    <a:pt x="2668772" y="2339163"/>
                  </a:cubicBezTo>
                  <a:cubicBezTo>
                    <a:pt x="2690037" y="2328530"/>
                    <a:pt x="2819400" y="2346251"/>
                    <a:pt x="2860158" y="2339163"/>
                  </a:cubicBezTo>
                  <a:cubicBezTo>
                    <a:pt x="2900916" y="2332075"/>
                    <a:pt x="2893828" y="2309038"/>
                    <a:pt x="2913321" y="2296633"/>
                  </a:cubicBezTo>
                  <a:cubicBezTo>
                    <a:pt x="2932814" y="2284228"/>
                    <a:pt x="2959395" y="2277140"/>
                    <a:pt x="2977116" y="2264735"/>
                  </a:cubicBezTo>
                  <a:cubicBezTo>
                    <a:pt x="2994837" y="2252330"/>
                    <a:pt x="2980660" y="2216889"/>
                    <a:pt x="3019646" y="2222205"/>
                  </a:cubicBezTo>
                  <a:cubicBezTo>
                    <a:pt x="3058632" y="2227521"/>
                    <a:pt x="3177362" y="2278912"/>
                    <a:pt x="3211032" y="2296633"/>
                  </a:cubicBezTo>
                  <a:cubicBezTo>
                    <a:pt x="3244702" y="2314354"/>
                    <a:pt x="3202172" y="2326759"/>
                    <a:pt x="3221665" y="2328531"/>
                  </a:cubicBezTo>
                  <a:cubicBezTo>
                    <a:pt x="3241158" y="2330303"/>
                    <a:pt x="3296093" y="2301950"/>
                    <a:pt x="3327991" y="2307266"/>
                  </a:cubicBezTo>
                  <a:cubicBezTo>
                    <a:pt x="3359889" y="2312582"/>
                    <a:pt x="3390014" y="2363972"/>
                    <a:pt x="3413051" y="2360428"/>
                  </a:cubicBezTo>
                  <a:cubicBezTo>
                    <a:pt x="3436088" y="2356884"/>
                    <a:pt x="3444949" y="2303721"/>
                    <a:pt x="3466214" y="2286000"/>
                  </a:cubicBezTo>
                  <a:cubicBezTo>
                    <a:pt x="3487479" y="2268279"/>
                    <a:pt x="3540642" y="2254103"/>
                    <a:pt x="3540642" y="2254103"/>
                  </a:cubicBezTo>
                  <a:cubicBezTo>
                    <a:pt x="3568996" y="2241698"/>
                    <a:pt x="3590261" y="2218661"/>
                    <a:pt x="3636335" y="2211573"/>
                  </a:cubicBezTo>
                  <a:cubicBezTo>
                    <a:pt x="3682409" y="2204485"/>
                    <a:pt x="3774558" y="2218662"/>
                    <a:pt x="3817088" y="2211573"/>
                  </a:cubicBezTo>
                  <a:cubicBezTo>
                    <a:pt x="3859618" y="2204484"/>
                    <a:pt x="3854302" y="2172586"/>
                    <a:pt x="3891516" y="2169042"/>
                  </a:cubicBezTo>
                  <a:cubicBezTo>
                    <a:pt x="3928730" y="2165498"/>
                    <a:pt x="4003158" y="2179674"/>
                    <a:pt x="4040372" y="2190307"/>
                  </a:cubicBezTo>
                  <a:cubicBezTo>
                    <a:pt x="4077586" y="2200940"/>
                    <a:pt x="4082902" y="2225749"/>
                    <a:pt x="4114800" y="2232838"/>
                  </a:cubicBezTo>
                  <a:cubicBezTo>
                    <a:pt x="4146698" y="2239927"/>
                    <a:pt x="4191000" y="2229294"/>
                    <a:pt x="4231758" y="2232838"/>
                  </a:cubicBezTo>
                  <a:cubicBezTo>
                    <a:pt x="4272516" y="2236382"/>
                    <a:pt x="4325679" y="2248787"/>
                    <a:pt x="4359349" y="2254103"/>
                  </a:cubicBezTo>
                  <a:cubicBezTo>
                    <a:pt x="4393019" y="2259419"/>
                    <a:pt x="4412512" y="2262963"/>
                    <a:pt x="4433777" y="2264735"/>
                  </a:cubicBezTo>
                  <a:cubicBezTo>
                    <a:pt x="4455042" y="2266507"/>
                    <a:pt x="4467446" y="2259419"/>
                    <a:pt x="4486939" y="2264735"/>
                  </a:cubicBezTo>
                  <a:cubicBezTo>
                    <a:pt x="4506432" y="2270051"/>
                    <a:pt x="4525926" y="2298405"/>
                    <a:pt x="4550735" y="2296633"/>
                  </a:cubicBezTo>
                  <a:cubicBezTo>
                    <a:pt x="4575544" y="2294861"/>
                    <a:pt x="4605670" y="2273596"/>
                    <a:pt x="4635795" y="2254103"/>
                  </a:cubicBezTo>
                  <a:cubicBezTo>
                    <a:pt x="4665920" y="2234610"/>
                    <a:pt x="4680097" y="2181447"/>
                    <a:pt x="4731488" y="2179675"/>
                  </a:cubicBezTo>
                  <a:cubicBezTo>
                    <a:pt x="4782879" y="2177903"/>
                    <a:pt x="4901609" y="2243470"/>
                    <a:pt x="4944139" y="2243470"/>
                  </a:cubicBezTo>
                  <a:cubicBezTo>
                    <a:pt x="4986669" y="2243470"/>
                    <a:pt x="4970721" y="2174359"/>
                    <a:pt x="4986670" y="2179675"/>
                  </a:cubicBezTo>
                  <a:cubicBezTo>
                    <a:pt x="5002619" y="2184991"/>
                    <a:pt x="5013251" y="2250559"/>
                    <a:pt x="5039832" y="2275368"/>
                  </a:cubicBezTo>
                  <a:cubicBezTo>
                    <a:pt x="5066413" y="2300177"/>
                    <a:pt x="5117805" y="2326759"/>
                    <a:pt x="5146158" y="2328531"/>
                  </a:cubicBezTo>
                  <a:cubicBezTo>
                    <a:pt x="5174511" y="2330303"/>
                    <a:pt x="5194004" y="2307265"/>
                    <a:pt x="5209953" y="2286000"/>
                  </a:cubicBezTo>
                  <a:cubicBezTo>
                    <a:pt x="5225902" y="2264735"/>
                    <a:pt x="5217042" y="2220433"/>
                    <a:pt x="5241851" y="2200940"/>
                  </a:cubicBezTo>
                  <a:cubicBezTo>
                    <a:pt x="5266660" y="2181447"/>
                    <a:pt x="5323367" y="2144233"/>
                    <a:pt x="5358809" y="2169042"/>
                  </a:cubicBezTo>
                  <a:cubicBezTo>
                    <a:pt x="5394251" y="2193851"/>
                    <a:pt x="5429693" y="2316126"/>
                    <a:pt x="5454502" y="2349796"/>
                  </a:cubicBezTo>
                  <a:cubicBezTo>
                    <a:pt x="5479311" y="2383466"/>
                    <a:pt x="5507665" y="2371061"/>
                    <a:pt x="5507665" y="2371061"/>
                  </a:cubicBezTo>
                  <a:cubicBezTo>
                    <a:pt x="5534247" y="2381694"/>
                    <a:pt x="5592726" y="2413591"/>
                    <a:pt x="5613991" y="2413591"/>
                  </a:cubicBezTo>
                  <a:cubicBezTo>
                    <a:pt x="5635256" y="2413591"/>
                    <a:pt x="5642344" y="2387010"/>
                    <a:pt x="5635256" y="2371061"/>
                  </a:cubicBezTo>
                  <a:cubicBezTo>
                    <a:pt x="5628168" y="2355112"/>
                    <a:pt x="5590953" y="2337391"/>
                    <a:pt x="5571460" y="2317898"/>
                  </a:cubicBezTo>
                  <a:cubicBezTo>
                    <a:pt x="5551967" y="2298405"/>
                    <a:pt x="5536019" y="2277140"/>
                    <a:pt x="5518298" y="2254103"/>
                  </a:cubicBezTo>
                  <a:cubicBezTo>
                    <a:pt x="5500577" y="2231066"/>
                    <a:pt x="5489944" y="2206257"/>
                    <a:pt x="5465135" y="2179675"/>
                  </a:cubicBezTo>
                  <a:cubicBezTo>
                    <a:pt x="5440326" y="2153093"/>
                    <a:pt x="5388935" y="2112335"/>
                    <a:pt x="5369442" y="2094614"/>
                  </a:cubicBezTo>
                  <a:cubicBezTo>
                    <a:pt x="5349949" y="2076893"/>
                    <a:pt x="5362354" y="2094614"/>
                    <a:pt x="5348177" y="2073349"/>
                  </a:cubicBezTo>
                  <a:cubicBezTo>
                    <a:pt x="5334000" y="2052084"/>
                    <a:pt x="5305646" y="1995378"/>
                    <a:pt x="5284381" y="1967024"/>
                  </a:cubicBezTo>
                  <a:cubicBezTo>
                    <a:pt x="5263116" y="1938670"/>
                    <a:pt x="5248939" y="1933354"/>
                    <a:pt x="5220586" y="1903228"/>
                  </a:cubicBezTo>
                  <a:cubicBezTo>
                    <a:pt x="5192233" y="1873102"/>
                    <a:pt x="5144386" y="1821712"/>
                    <a:pt x="5114260" y="1786270"/>
                  </a:cubicBezTo>
                  <a:cubicBezTo>
                    <a:pt x="5084134" y="1750828"/>
                    <a:pt x="5061097" y="1718930"/>
                    <a:pt x="5039832" y="1690577"/>
                  </a:cubicBezTo>
                  <a:cubicBezTo>
                    <a:pt x="5018567" y="1662223"/>
                    <a:pt x="4999075" y="1653363"/>
                    <a:pt x="4986670" y="1616149"/>
                  </a:cubicBezTo>
                  <a:cubicBezTo>
                    <a:pt x="4974265" y="1578935"/>
                    <a:pt x="4977809" y="1506279"/>
                    <a:pt x="4965404" y="1467293"/>
                  </a:cubicBezTo>
                  <a:cubicBezTo>
                    <a:pt x="4952999" y="1428307"/>
                    <a:pt x="4933507" y="1410586"/>
                    <a:pt x="4912242" y="1382233"/>
                  </a:cubicBezTo>
                  <a:cubicBezTo>
                    <a:pt x="4890977" y="1353880"/>
                    <a:pt x="4859079" y="1318438"/>
                    <a:pt x="4837814" y="1297173"/>
                  </a:cubicBezTo>
                  <a:cubicBezTo>
                    <a:pt x="4816549" y="1275908"/>
                    <a:pt x="4813005" y="1265275"/>
                    <a:pt x="4784651" y="1254642"/>
                  </a:cubicBezTo>
                  <a:cubicBezTo>
                    <a:pt x="4756297" y="1244009"/>
                    <a:pt x="4708451" y="1235149"/>
                    <a:pt x="4667693" y="1233377"/>
                  </a:cubicBezTo>
                  <a:cubicBezTo>
                    <a:pt x="4626935" y="1231605"/>
                    <a:pt x="4582632" y="1251098"/>
                    <a:pt x="4540102" y="1244010"/>
                  </a:cubicBezTo>
                  <a:cubicBezTo>
                    <a:pt x="4497572" y="1236922"/>
                    <a:pt x="4444409" y="1206796"/>
                    <a:pt x="4412511" y="1190847"/>
                  </a:cubicBezTo>
                  <a:cubicBezTo>
                    <a:pt x="4380613" y="1174898"/>
                    <a:pt x="4373525" y="1158949"/>
                    <a:pt x="4348716" y="1148317"/>
                  </a:cubicBezTo>
                  <a:cubicBezTo>
                    <a:pt x="4323907" y="1137685"/>
                    <a:pt x="4293782" y="1123508"/>
                    <a:pt x="4263656" y="1127052"/>
                  </a:cubicBezTo>
                  <a:cubicBezTo>
                    <a:pt x="4233531" y="1130596"/>
                    <a:pt x="4198089" y="1174898"/>
                    <a:pt x="4167963" y="1169582"/>
                  </a:cubicBezTo>
                  <a:cubicBezTo>
                    <a:pt x="4137837" y="1164266"/>
                    <a:pt x="4105939" y="1112875"/>
                    <a:pt x="4082902" y="1095154"/>
                  </a:cubicBezTo>
                  <a:cubicBezTo>
                    <a:pt x="4059865" y="1077433"/>
                    <a:pt x="4058092" y="1070344"/>
                    <a:pt x="4029739" y="1063256"/>
                  </a:cubicBezTo>
                  <a:cubicBezTo>
                    <a:pt x="4001386" y="1056168"/>
                    <a:pt x="3948223" y="1065029"/>
                    <a:pt x="3912781" y="1052624"/>
                  </a:cubicBezTo>
                  <a:cubicBezTo>
                    <a:pt x="3877339" y="1040219"/>
                    <a:pt x="3843669" y="1008321"/>
                    <a:pt x="3817088" y="988828"/>
                  </a:cubicBezTo>
                  <a:cubicBezTo>
                    <a:pt x="3790507" y="969335"/>
                    <a:pt x="3781647" y="958703"/>
                    <a:pt x="3753293" y="935666"/>
                  </a:cubicBezTo>
                  <a:cubicBezTo>
                    <a:pt x="3724940" y="912629"/>
                    <a:pt x="3677093" y="873642"/>
                    <a:pt x="3646967" y="850605"/>
                  </a:cubicBezTo>
                  <a:cubicBezTo>
                    <a:pt x="3616841" y="827568"/>
                    <a:pt x="3588488" y="820479"/>
                    <a:pt x="3572539" y="797442"/>
                  </a:cubicBezTo>
                  <a:cubicBezTo>
                    <a:pt x="3556590" y="774405"/>
                    <a:pt x="3561906" y="746051"/>
                    <a:pt x="3551274" y="712382"/>
                  </a:cubicBezTo>
                  <a:cubicBezTo>
                    <a:pt x="3540642" y="678713"/>
                    <a:pt x="3519376" y="629094"/>
                    <a:pt x="3508744" y="595424"/>
                  </a:cubicBezTo>
                  <a:cubicBezTo>
                    <a:pt x="3498112" y="561754"/>
                    <a:pt x="3498111" y="535172"/>
                    <a:pt x="3487479" y="510363"/>
                  </a:cubicBezTo>
                  <a:cubicBezTo>
                    <a:pt x="3476847" y="485554"/>
                    <a:pt x="3471530" y="464289"/>
                    <a:pt x="3444949" y="446568"/>
                  </a:cubicBezTo>
                  <a:cubicBezTo>
                    <a:pt x="3418368" y="428847"/>
                    <a:pt x="3363433" y="418215"/>
                    <a:pt x="3327991" y="404038"/>
                  </a:cubicBezTo>
                  <a:cubicBezTo>
                    <a:pt x="3292549" y="389861"/>
                    <a:pt x="3269512" y="372140"/>
                    <a:pt x="3232298" y="361507"/>
                  </a:cubicBezTo>
                  <a:cubicBezTo>
                    <a:pt x="3195084" y="350874"/>
                    <a:pt x="3136605" y="354419"/>
                    <a:pt x="3104707" y="340242"/>
                  </a:cubicBezTo>
                  <a:cubicBezTo>
                    <a:pt x="3072809" y="326065"/>
                    <a:pt x="3063948" y="283535"/>
                    <a:pt x="3040911" y="276447"/>
                  </a:cubicBezTo>
                  <a:cubicBezTo>
                    <a:pt x="3017874" y="269359"/>
                    <a:pt x="2994837" y="281763"/>
                    <a:pt x="2966484" y="297712"/>
                  </a:cubicBezTo>
                  <a:cubicBezTo>
                    <a:pt x="2938131" y="313661"/>
                    <a:pt x="2904461" y="357963"/>
                    <a:pt x="2870791" y="372140"/>
                  </a:cubicBezTo>
                  <a:cubicBezTo>
                    <a:pt x="2837121" y="386317"/>
                    <a:pt x="2803451" y="381001"/>
                    <a:pt x="2764465" y="382773"/>
                  </a:cubicBezTo>
                  <a:cubicBezTo>
                    <a:pt x="2725479" y="384545"/>
                    <a:pt x="2677632" y="389861"/>
                    <a:pt x="2636874" y="382773"/>
                  </a:cubicBezTo>
                  <a:cubicBezTo>
                    <a:pt x="2596116" y="375684"/>
                    <a:pt x="2546497" y="357963"/>
                    <a:pt x="2519916" y="340242"/>
                  </a:cubicBezTo>
                  <a:cubicBezTo>
                    <a:pt x="2493335" y="322521"/>
                    <a:pt x="2500423" y="295940"/>
                    <a:pt x="2477386" y="276447"/>
                  </a:cubicBezTo>
                  <a:cubicBezTo>
                    <a:pt x="2454349" y="256954"/>
                    <a:pt x="2415363" y="239233"/>
                    <a:pt x="2381693" y="223284"/>
                  </a:cubicBezTo>
                  <a:cubicBezTo>
                    <a:pt x="2348023" y="207335"/>
                    <a:pt x="2328530" y="198475"/>
                    <a:pt x="2275367" y="180754"/>
                  </a:cubicBezTo>
                  <a:cubicBezTo>
                    <a:pt x="2222204" y="163033"/>
                    <a:pt x="2101702" y="141768"/>
                    <a:pt x="2062716" y="116959"/>
                  </a:cubicBezTo>
                  <a:cubicBezTo>
                    <a:pt x="2023730" y="92150"/>
                    <a:pt x="2043223" y="51391"/>
                    <a:pt x="2041451" y="31898"/>
                  </a:cubicBezTo>
                  <a:cubicBezTo>
                    <a:pt x="2039679" y="12405"/>
                    <a:pt x="2045881" y="6202"/>
                    <a:pt x="2052084" y="0"/>
                  </a:cubicBezTo>
                </a:path>
              </a:pathLst>
            </a:cu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Georgia" panose="02040502050405020303" pitchFamily="18" charset="0"/>
                <a:ea typeface="ＭＳ Ｐ明朝" panose="02020600040205080304" pitchFamily="18" charset="-128"/>
              </a:endParaRPr>
            </a:p>
          </p:txBody>
        </p:sp>
        <p:sp>
          <p:nvSpPr>
            <p:cNvPr id="140" name="フリーフォーム 139"/>
            <p:cNvSpPr/>
            <p:nvPr/>
          </p:nvSpPr>
          <p:spPr>
            <a:xfrm>
              <a:off x="3316416" y="6210962"/>
              <a:ext cx="544531" cy="553175"/>
            </a:xfrm>
            <a:custGeom>
              <a:avLst/>
              <a:gdLst>
                <a:gd name="connsiteX0" fmla="*/ 54105 w 544531"/>
                <a:gd name="connsiteY0" fmla="*/ 9085 h 553175"/>
                <a:gd name="connsiteX1" fmla="*/ 43472 w 544531"/>
                <a:gd name="connsiteY1" fmla="*/ 168573 h 553175"/>
                <a:gd name="connsiteX2" fmla="*/ 11575 w 544531"/>
                <a:gd name="connsiteY2" fmla="*/ 243001 h 553175"/>
                <a:gd name="connsiteX3" fmla="*/ 942 w 544531"/>
                <a:gd name="connsiteY3" fmla="*/ 328061 h 553175"/>
                <a:gd name="connsiteX4" fmla="*/ 32840 w 544531"/>
                <a:gd name="connsiteY4" fmla="*/ 413122 h 553175"/>
                <a:gd name="connsiteX5" fmla="*/ 107268 w 544531"/>
                <a:gd name="connsiteY5" fmla="*/ 455652 h 553175"/>
                <a:gd name="connsiteX6" fmla="*/ 171063 w 544531"/>
                <a:gd name="connsiteY6" fmla="*/ 498182 h 553175"/>
                <a:gd name="connsiteX7" fmla="*/ 202961 w 544531"/>
                <a:gd name="connsiteY7" fmla="*/ 540712 h 553175"/>
                <a:gd name="connsiteX8" fmla="*/ 288021 w 544531"/>
                <a:gd name="connsiteY8" fmla="*/ 551345 h 553175"/>
                <a:gd name="connsiteX9" fmla="*/ 383714 w 544531"/>
                <a:gd name="connsiteY9" fmla="*/ 508815 h 553175"/>
                <a:gd name="connsiteX10" fmla="*/ 479407 w 544531"/>
                <a:gd name="connsiteY10" fmla="*/ 466285 h 553175"/>
                <a:gd name="connsiteX11" fmla="*/ 532570 w 544531"/>
                <a:gd name="connsiteY11" fmla="*/ 434387 h 553175"/>
                <a:gd name="connsiteX12" fmla="*/ 543203 w 544531"/>
                <a:gd name="connsiteY12" fmla="*/ 381224 h 553175"/>
                <a:gd name="connsiteX13" fmla="*/ 511305 w 544531"/>
                <a:gd name="connsiteY13" fmla="*/ 285531 h 553175"/>
                <a:gd name="connsiteX14" fmla="*/ 458142 w 544531"/>
                <a:gd name="connsiteY14" fmla="*/ 211103 h 553175"/>
                <a:gd name="connsiteX15" fmla="*/ 373082 w 544531"/>
                <a:gd name="connsiteY15" fmla="*/ 168573 h 553175"/>
                <a:gd name="connsiteX16" fmla="*/ 288021 w 544531"/>
                <a:gd name="connsiteY16" fmla="*/ 126043 h 553175"/>
                <a:gd name="connsiteX17" fmla="*/ 224226 w 544531"/>
                <a:gd name="connsiteY17" fmla="*/ 94145 h 553175"/>
                <a:gd name="connsiteX18" fmla="*/ 149798 w 544531"/>
                <a:gd name="connsiteY18" fmla="*/ 30350 h 553175"/>
                <a:gd name="connsiteX19" fmla="*/ 107268 w 544531"/>
                <a:gd name="connsiteY19" fmla="*/ 19717 h 553175"/>
                <a:gd name="connsiteX20" fmla="*/ 54105 w 544531"/>
                <a:gd name="connsiteY20" fmla="*/ 9085 h 55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44531" h="553175">
                  <a:moveTo>
                    <a:pt x="54105" y="9085"/>
                  </a:moveTo>
                  <a:cubicBezTo>
                    <a:pt x="43472" y="33894"/>
                    <a:pt x="50560" y="129587"/>
                    <a:pt x="43472" y="168573"/>
                  </a:cubicBezTo>
                  <a:cubicBezTo>
                    <a:pt x="36384" y="207559"/>
                    <a:pt x="18663" y="216420"/>
                    <a:pt x="11575" y="243001"/>
                  </a:cubicBezTo>
                  <a:cubicBezTo>
                    <a:pt x="4487" y="269582"/>
                    <a:pt x="-2602" y="299708"/>
                    <a:pt x="942" y="328061"/>
                  </a:cubicBezTo>
                  <a:cubicBezTo>
                    <a:pt x="4486" y="356414"/>
                    <a:pt x="15119" y="391857"/>
                    <a:pt x="32840" y="413122"/>
                  </a:cubicBezTo>
                  <a:cubicBezTo>
                    <a:pt x="50561" y="434387"/>
                    <a:pt x="84231" y="441475"/>
                    <a:pt x="107268" y="455652"/>
                  </a:cubicBezTo>
                  <a:cubicBezTo>
                    <a:pt x="130305" y="469829"/>
                    <a:pt x="155114" y="484005"/>
                    <a:pt x="171063" y="498182"/>
                  </a:cubicBezTo>
                  <a:cubicBezTo>
                    <a:pt x="187012" y="512359"/>
                    <a:pt x="183468" y="531852"/>
                    <a:pt x="202961" y="540712"/>
                  </a:cubicBezTo>
                  <a:cubicBezTo>
                    <a:pt x="222454" y="549572"/>
                    <a:pt x="257896" y="556661"/>
                    <a:pt x="288021" y="551345"/>
                  </a:cubicBezTo>
                  <a:cubicBezTo>
                    <a:pt x="318147" y="546029"/>
                    <a:pt x="383714" y="508815"/>
                    <a:pt x="383714" y="508815"/>
                  </a:cubicBezTo>
                  <a:cubicBezTo>
                    <a:pt x="415612" y="494638"/>
                    <a:pt x="454598" y="478690"/>
                    <a:pt x="479407" y="466285"/>
                  </a:cubicBezTo>
                  <a:cubicBezTo>
                    <a:pt x="504216" y="453880"/>
                    <a:pt x="521937" y="448564"/>
                    <a:pt x="532570" y="434387"/>
                  </a:cubicBezTo>
                  <a:cubicBezTo>
                    <a:pt x="543203" y="420210"/>
                    <a:pt x="546747" y="406033"/>
                    <a:pt x="543203" y="381224"/>
                  </a:cubicBezTo>
                  <a:cubicBezTo>
                    <a:pt x="539659" y="356415"/>
                    <a:pt x="525482" y="313884"/>
                    <a:pt x="511305" y="285531"/>
                  </a:cubicBezTo>
                  <a:cubicBezTo>
                    <a:pt x="497128" y="257178"/>
                    <a:pt x="481179" y="230596"/>
                    <a:pt x="458142" y="211103"/>
                  </a:cubicBezTo>
                  <a:cubicBezTo>
                    <a:pt x="435105" y="191610"/>
                    <a:pt x="373082" y="168573"/>
                    <a:pt x="373082" y="168573"/>
                  </a:cubicBezTo>
                  <a:lnTo>
                    <a:pt x="288021" y="126043"/>
                  </a:lnTo>
                  <a:cubicBezTo>
                    <a:pt x="263212" y="113638"/>
                    <a:pt x="247263" y="110094"/>
                    <a:pt x="224226" y="94145"/>
                  </a:cubicBezTo>
                  <a:cubicBezTo>
                    <a:pt x="201189" y="78196"/>
                    <a:pt x="169291" y="42755"/>
                    <a:pt x="149798" y="30350"/>
                  </a:cubicBezTo>
                  <a:cubicBezTo>
                    <a:pt x="130305" y="17945"/>
                    <a:pt x="123217" y="21489"/>
                    <a:pt x="107268" y="19717"/>
                  </a:cubicBezTo>
                  <a:cubicBezTo>
                    <a:pt x="91319" y="17945"/>
                    <a:pt x="64738" y="-15724"/>
                    <a:pt x="54105" y="9085"/>
                  </a:cubicBezTo>
                  <a:close/>
                </a:path>
              </a:pathLst>
            </a:cu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Georgia" panose="02040502050405020303" pitchFamily="18" charset="0"/>
                <a:ea typeface="ＭＳ Ｐ明朝" panose="02020600040205080304" pitchFamily="18" charset="-128"/>
              </a:endParaRPr>
            </a:p>
          </p:txBody>
        </p:sp>
        <p:sp>
          <p:nvSpPr>
            <p:cNvPr id="141" name="フリーフォーム 140"/>
            <p:cNvSpPr/>
            <p:nvPr/>
          </p:nvSpPr>
          <p:spPr>
            <a:xfrm>
              <a:off x="1031302" y="2200940"/>
              <a:ext cx="1850307" cy="1950662"/>
            </a:xfrm>
            <a:custGeom>
              <a:avLst/>
              <a:gdLst>
                <a:gd name="connsiteX0" fmla="*/ 1680000 w 1850307"/>
                <a:gd name="connsiteY0" fmla="*/ 1743739 h 1950662"/>
                <a:gd name="connsiteX1" fmla="*/ 1807591 w 1850307"/>
                <a:gd name="connsiteY1" fmla="*/ 1520455 h 1950662"/>
                <a:gd name="connsiteX2" fmla="*/ 1796958 w 1850307"/>
                <a:gd name="connsiteY2" fmla="*/ 1456660 h 1950662"/>
                <a:gd name="connsiteX3" fmla="*/ 1754428 w 1850307"/>
                <a:gd name="connsiteY3" fmla="*/ 1297172 h 1950662"/>
                <a:gd name="connsiteX4" fmla="*/ 1850121 w 1850307"/>
                <a:gd name="connsiteY4" fmla="*/ 1286539 h 1950662"/>
                <a:gd name="connsiteX5" fmla="*/ 1775693 w 1850307"/>
                <a:gd name="connsiteY5" fmla="*/ 1201479 h 1950662"/>
                <a:gd name="connsiteX6" fmla="*/ 1669368 w 1850307"/>
                <a:gd name="connsiteY6" fmla="*/ 988827 h 1950662"/>
                <a:gd name="connsiteX7" fmla="*/ 1637470 w 1850307"/>
                <a:gd name="connsiteY7" fmla="*/ 903767 h 1950662"/>
                <a:gd name="connsiteX8" fmla="*/ 1605572 w 1850307"/>
                <a:gd name="connsiteY8" fmla="*/ 754911 h 1950662"/>
                <a:gd name="connsiteX9" fmla="*/ 1573675 w 1850307"/>
                <a:gd name="connsiteY9" fmla="*/ 691116 h 1950662"/>
                <a:gd name="connsiteX10" fmla="*/ 1552410 w 1850307"/>
                <a:gd name="connsiteY10" fmla="*/ 606055 h 1950662"/>
                <a:gd name="connsiteX11" fmla="*/ 1488614 w 1850307"/>
                <a:gd name="connsiteY11" fmla="*/ 552893 h 1950662"/>
                <a:gd name="connsiteX12" fmla="*/ 1414186 w 1850307"/>
                <a:gd name="connsiteY12" fmla="*/ 510362 h 1950662"/>
                <a:gd name="connsiteX13" fmla="*/ 1371656 w 1850307"/>
                <a:gd name="connsiteY13" fmla="*/ 520995 h 1950662"/>
                <a:gd name="connsiteX14" fmla="*/ 1307861 w 1850307"/>
                <a:gd name="connsiteY14" fmla="*/ 489097 h 1950662"/>
                <a:gd name="connsiteX15" fmla="*/ 1254698 w 1850307"/>
                <a:gd name="connsiteY15" fmla="*/ 425302 h 1950662"/>
                <a:gd name="connsiteX16" fmla="*/ 1148372 w 1850307"/>
                <a:gd name="connsiteY16" fmla="*/ 404037 h 1950662"/>
                <a:gd name="connsiteX17" fmla="*/ 1042047 w 1850307"/>
                <a:gd name="connsiteY17" fmla="*/ 350874 h 1950662"/>
                <a:gd name="connsiteX18" fmla="*/ 988884 w 1850307"/>
                <a:gd name="connsiteY18" fmla="*/ 329609 h 1950662"/>
                <a:gd name="connsiteX19" fmla="*/ 871926 w 1850307"/>
                <a:gd name="connsiteY19" fmla="*/ 287079 h 1950662"/>
                <a:gd name="connsiteX20" fmla="*/ 786865 w 1850307"/>
                <a:gd name="connsiteY20" fmla="*/ 223283 h 1950662"/>
                <a:gd name="connsiteX21" fmla="*/ 701805 w 1850307"/>
                <a:gd name="connsiteY21" fmla="*/ 170120 h 1950662"/>
                <a:gd name="connsiteX22" fmla="*/ 638010 w 1850307"/>
                <a:gd name="connsiteY22" fmla="*/ 116958 h 1950662"/>
                <a:gd name="connsiteX23" fmla="*/ 584847 w 1850307"/>
                <a:gd name="connsiteY23" fmla="*/ 63795 h 1950662"/>
                <a:gd name="connsiteX24" fmla="*/ 521051 w 1850307"/>
                <a:gd name="connsiteY24" fmla="*/ 106325 h 1950662"/>
                <a:gd name="connsiteX25" fmla="*/ 446624 w 1850307"/>
                <a:gd name="connsiteY25" fmla="*/ 53162 h 1950662"/>
                <a:gd name="connsiteX26" fmla="*/ 372196 w 1850307"/>
                <a:gd name="connsiteY26" fmla="*/ 31897 h 1950662"/>
                <a:gd name="connsiteX27" fmla="*/ 287135 w 1850307"/>
                <a:gd name="connsiteY27" fmla="*/ 0 h 1950662"/>
                <a:gd name="connsiteX28" fmla="*/ 180810 w 1850307"/>
                <a:gd name="connsiteY28" fmla="*/ 0 h 1950662"/>
                <a:gd name="connsiteX29" fmla="*/ 148912 w 1850307"/>
                <a:gd name="connsiteY29" fmla="*/ 31897 h 1950662"/>
                <a:gd name="connsiteX30" fmla="*/ 95749 w 1850307"/>
                <a:gd name="connsiteY30" fmla="*/ 85060 h 1950662"/>
                <a:gd name="connsiteX31" fmla="*/ 53219 w 1850307"/>
                <a:gd name="connsiteY31" fmla="*/ 170120 h 1950662"/>
                <a:gd name="connsiteX32" fmla="*/ 31954 w 1850307"/>
                <a:gd name="connsiteY32" fmla="*/ 255181 h 1950662"/>
                <a:gd name="connsiteX33" fmla="*/ 31954 w 1850307"/>
                <a:gd name="connsiteY33" fmla="*/ 350874 h 1950662"/>
                <a:gd name="connsiteX34" fmla="*/ 63851 w 1850307"/>
                <a:gd name="connsiteY34" fmla="*/ 372139 h 1950662"/>
                <a:gd name="connsiteX35" fmla="*/ 56 w 1850307"/>
                <a:gd name="connsiteY35" fmla="*/ 425302 h 1950662"/>
                <a:gd name="connsiteX36" fmla="*/ 53219 w 1850307"/>
                <a:gd name="connsiteY36" fmla="*/ 446567 h 1950662"/>
                <a:gd name="connsiteX37" fmla="*/ 85117 w 1850307"/>
                <a:gd name="connsiteY37" fmla="*/ 499730 h 1950662"/>
                <a:gd name="connsiteX38" fmla="*/ 85117 w 1850307"/>
                <a:gd name="connsiteY38" fmla="*/ 584790 h 1950662"/>
                <a:gd name="connsiteX39" fmla="*/ 85117 w 1850307"/>
                <a:gd name="connsiteY39" fmla="*/ 637953 h 1950662"/>
                <a:gd name="connsiteX40" fmla="*/ 74484 w 1850307"/>
                <a:gd name="connsiteY40" fmla="*/ 691116 h 1950662"/>
                <a:gd name="connsiteX41" fmla="*/ 85117 w 1850307"/>
                <a:gd name="connsiteY41" fmla="*/ 765544 h 1950662"/>
                <a:gd name="connsiteX42" fmla="*/ 106382 w 1850307"/>
                <a:gd name="connsiteY42" fmla="*/ 829339 h 1950662"/>
                <a:gd name="connsiteX43" fmla="*/ 85117 w 1850307"/>
                <a:gd name="connsiteY43" fmla="*/ 882502 h 1950662"/>
                <a:gd name="connsiteX44" fmla="*/ 106382 w 1850307"/>
                <a:gd name="connsiteY44" fmla="*/ 914400 h 1950662"/>
                <a:gd name="connsiteX45" fmla="*/ 95749 w 1850307"/>
                <a:gd name="connsiteY45" fmla="*/ 988827 h 1950662"/>
                <a:gd name="connsiteX46" fmla="*/ 202075 w 1850307"/>
                <a:gd name="connsiteY46" fmla="*/ 988827 h 1950662"/>
                <a:gd name="connsiteX47" fmla="*/ 223340 w 1850307"/>
                <a:gd name="connsiteY47" fmla="*/ 1041990 h 1950662"/>
                <a:gd name="connsiteX48" fmla="*/ 170177 w 1850307"/>
                <a:gd name="connsiteY48" fmla="*/ 1063255 h 1950662"/>
                <a:gd name="connsiteX49" fmla="*/ 233972 w 1850307"/>
                <a:gd name="connsiteY49" fmla="*/ 1116418 h 1950662"/>
                <a:gd name="connsiteX50" fmla="*/ 223340 w 1850307"/>
                <a:gd name="connsiteY50" fmla="*/ 1169581 h 1950662"/>
                <a:gd name="connsiteX51" fmla="*/ 244605 w 1850307"/>
                <a:gd name="connsiteY51" fmla="*/ 1201479 h 1950662"/>
                <a:gd name="connsiteX52" fmla="*/ 297768 w 1850307"/>
                <a:gd name="connsiteY52" fmla="*/ 1222744 h 1950662"/>
                <a:gd name="connsiteX53" fmla="*/ 350931 w 1850307"/>
                <a:gd name="connsiteY53" fmla="*/ 1286539 h 1950662"/>
                <a:gd name="connsiteX54" fmla="*/ 372196 w 1850307"/>
                <a:gd name="connsiteY54" fmla="*/ 1339702 h 1950662"/>
                <a:gd name="connsiteX55" fmla="*/ 404093 w 1850307"/>
                <a:gd name="connsiteY55" fmla="*/ 1350334 h 1950662"/>
                <a:gd name="connsiteX56" fmla="*/ 414726 w 1850307"/>
                <a:gd name="connsiteY56" fmla="*/ 1403497 h 1950662"/>
                <a:gd name="connsiteX57" fmla="*/ 489154 w 1850307"/>
                <a:gd name="connsiteY57" fmla="*/ 1467293 h 1950662"/>
                <a:gd name="connsiteX58" fmla="*/ 584847 w 1850307"/>
                <a:gd name="connsiteY58" fmla="*/ 1531088 h 1950662"/>
                <a:gd name="connsiteX59" fmla="*/ 712438 w 1850307"/>
                <a:gd name="connsiteY59" fmla="*/ 1594883 h 1950662"/>
                <a:gd name="connsiteX60" fmla="*/ 808131 w 1850307"/>
                <a:gd name="connsiteY60" fmla="*/ 1648046 h 1950662"/>
                <a:gd name="connsiteX61" fmla="*/ 903824 w 1850307"/>
                <a:gd name="connsiteY61" fmla="*/ 1690576 h 1950662"/>
                <a:gd name="connsiteX62" fmla="*/ 1052679 w 1850307"/>
                <a:gd name="connsiteY62" fmla="*/ 1775637 h 1950662"/>
                <a:gd name="connsiteX63" fmla="*/ 1127107 w 1850307"/>
                <a:gd name="connsiteY63" fmla="*/ 1818167 h 1950662"/>
                <a:gd name="connsiteX64" fmla="*/ 1222800 w 1850307"/>
                <a:gd name="connsiteY64" fmla="*/ 1818167 h 1950662"/>
                <a:gd name="connsiteX65" fmla="*/ 1244065 w 1850307"/>
                <a:gd name="connsiteY65" fmla="*/ 1850065 h 1950662"/>
                <a:gd name="connsiteX66" fmla="*/ 1297228 w 1850307"/>
                <a:gd name="connsiteY66" fmla="*/ 1924493 h 1950662"/>
                <a:gd name="connsiteX67" fmla="*/ 1339758 w 1850307"/>
                <a:gd name="connsiteY67" fmla="*/ 1945758 h 1950662"/>
                <a:gd name="connsiteX68" fmla="*/ 1307861 w 1850307"/>
                <a:gd name="connsiteY68" fmla="*/ 1839432 h 1950662"/>
                <a:gd name="connsiteX69" fmla="*/ 1424819 w 1850307"/>
                <a:gd name="connsiteY69" fmla="*/ 1860697 h 1950662"/>
                <a:gd name="connsiteX70" fmla="*/ 1499247 w 1850307"/>
                <a:gd name="connsiteY70" fmla="*/ 1828800 h 1950662"/>
                <a:gd name="connsiteX71" fmla="*/ 1594940 w 1850307"/>
                <a:gd name="connsiteY71" fmla="*/ 1807534 h 1950662"/>
                <a:gd name="connsiteX72" fmla="*/ 1680000 w 1850307"/>
                <a:gd name="connsiteY72" fmla="*/ 1743739 h 1950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850307" h="1950662">
                  <a:moveTo>
                    <a:pt x="1680000" y="1743739"/>
                  </a:moveTo>
                  <a:cubicBezTo>
                    <a:pt x="1715442" y="1695892"/>
                    <a:pt x="1788098" y="1568301"/>
                    <a:pt x="1807591" y="1520455"/>
                  </a:cubicBezTo>
                  <a:cubicBezTo>
                    <a:pt x="1827084" y="1472609"/>
                    <a:pt x="1805818" y="1493874"/>
                    <a:pt x="1796958" y="1456660"/>
                  </a:cubicBezTo>
                  <a:cubicBezTo>
                    <a:pt x="1788098" y="1419446"/>
                    <a:pt x="1745568" y="1325525"/>
                    <a:pt x="1754428" y="1297172"/>
                  </a:cubicBezTo>
                  <a:cubicBezTo>
                    <a:pt x="1763289" y="1268818"/>
                    <a:pt x="1846577" y="1302488"/>
                    <a:pt x="1850121" y="1286539"/>
                  </a:cubicBezTo>
                  <a:cubicBezTo>
                    <a:pt x="1853665" y="1270590"/>
                    <a:pt x="1805819" y="1251098"/>
                    <a:pt x="1775693" y="1201479"/>
                  </a:cubicBezTo>
                  <a:cubicBezTo>
                    <a:pt x="1745568" y="1151860"/>
                    <a:pt x="1692405" y="1038446"/>
                    <a:pt x="1669368" y="988827"/>
                  </a:cubicBezTo>
                  <a:cubicBezTo>
                    <a:pt x="1646331" y="939208"/>
                    <a:pt x="1648103" y="942753"/>
                    <a:pt x="1637470" y="903767"/>
                  </a:cubicBezTo>
                  <a:cubicBezTo>
                    <a:pt x="1626837" y="864781"/>
                    <a:pt x="1616204" y="790353"/>
                    <a:pt x="1605572" y="754911"/>
                  </a:cubicBezTo>
                  <a:cubicBezTo>
                    <a:pt x="1594940" y="719469"/>
                    <a:pt x="1582535" y="715925"/>
                    <a:pt x="1573675" y="691116"/>
                  </a:cubicBezTo>
                  <a:cubicBezTo>
                    <a:pt x="1564815" y="666307"/>
                    <a:pt x="1566587" y="629092"/>
                    <a:pt x="1552410" y="606055"/>
                  </a:cubicBezTo>
                  <a:cubicBezTo>
                    <a:pt x="1538233" y="583018"/>
                    <a:pt x="1511651" y="568842"/>
                    <a:pt x="1488614" y="552893"/>
                  </a:cubicBezTo>
                  <a:cubicBezTo>
                    <a:pt x="1465577" y="536944"/>
                    <a:pt x="1433679" y="515678"/>
                    <a:pt x="1414186" y="510362"/>
                  </a:cubicBezTo>
                  <a:cubicBezTo>
                    <a:pt x="1394693" y="505046"/>
                    <a:pt x="1389377" y="524539"/>
                    <a:pt x="1371656" y="520995"/>
                  </a:cubicBezTo>
                  <a:cubicBezTo>
                    <a:pt x="1353935" y="517451"/>
                    <a:pt x="1327354" y="505046"/>
                    <a:pt x="1307861" y="489097"/>
                  </a:cubicBezTo>
                  <a:cubicBezTo>
                    <a:pt x="1288368" y="473148"/>
                    <a:pt x="1281280" y="439479"/>
                    <a:pt x="1254698" y="425302"/>
                  </a:cubicBezTo>
                  <a:cubicBezTo>
                    <a:pt x="1228116" y="411125"/>
                    <a:pt x="1183814" y="416442"/>
                    <a:pt x="1148372" y="404037"/>
                  </a:cubicBezTo>
                  <a:cubicBezTo>
                    <a:pt x="1112930" y="391632"/>
                    <a:pt x="1068628" y="363279"/>
                    <a:pt x="1042047" y="350874"/>
                  </a:cubicBezTo>
                  <a:cubicBezTo>
                    <a:pt x="1015466" y="338469"/>
                    <a:pt x="1017237" y="340241"/>
                    <a:pt x="988884" y="329609"/>
                  </a:cubicBezTo>
                  <a:cubicBezTo>
                    <a:pt x="960530" y="318976"/>
                    <a:pt x="905596" y="304800"/>
                    <a:pt x="871926" y="287079"/>
                  </a:cubicBezTo>
                  <a:cubicBezTo>
                    <a:pt x="838256" y="269358"/>
                    <a:pt x="815218" y="242776"/>
                    <a:pt x="786865" y="223283"/>
                  </a:cubicBezTo>
                  <a:cubicBezTo>
                    <a:pt x="758512" y="203790"/>
                    <a:pt x="726614" y="187841"/>
                    <a:pt x="701805" y="170120"/>
                  </a:cubicBezTo>
                  <a:cubicBezTo>
                    <a:pt x="676996" y="152399"/>
                    <a:pt x="657503" y="134679"/>
                    <a:pt x="638010" y="116958"/>
                  </a:cubicBezTo>
                  <a:cubicBezTo>
                    <a:pt x="618517" y="99237"/>
                    <a:pt x="604340" y="65567"/>
                    <a:pt x="584847" y="63795"/>
                  </a:cubicBezTo>
                  <a:cubicBezTo>
                    <a:pt x="565354" y="62023"/>
                    <a:pt x="544088" y="108097"/>
                    <a:pt x="521051" y="106325"/>
                  </a:cubicBezTo>
                  <a:cubicBezTo>
                    <a:pt x="498014" y="104553"/>
                    <a:pt x="471433" y="65567"/>
                    <a:pt x="446624" y="53162"/>
                  </a:cubicBezTo>
                  <a:cubicBezTo>
                    <a:pt x="421815" y="40757"/>
                    <a:pt x="398778" y="40757"/>
                    <a:pt x="372196" y="31897"/>
                  </a:cubicBezTo>
                  <a:cubicBezTo>
                    <a:pt x="345614" y="23037"/>
                    <a:pt x="319033" y="5316"/>
                    <a:pt x="287135" y="0"/>
                  </a:cubicBezTo>
                  <a:cubicBezTo>
                    <a:pt x="255237" y="-5316"/>
                    <a:pt x="203847" y="-5316"/>
                    <a:pt x="180810" y="0"/>
                  </a:cubicBezTo>
                  <a:cubicBezTo>
                    <a:pt x="157773" y="5316"/>
                    <a:pt x="148912" y="31897"/>
                    <a:pt x="148912" y="31897"/>
                  </a:cubicBezTo>
                  <a:cubicBezTo>
                    <a:pt x="134735" y="46074"/>
                    <a:pt x="111698" y="62023"/>
                    <a:pt x="95749" y="85060"/>
                  </a:cubicBezTo>
                  <a:cubicBezTo>
                    <a:pt x="79800" y="108097"/>
                    <a:pt x="63851" y="141766"/>
                    <a:pt x="53219" y="170120"/>
                  </a:cubicBezTo>
                  <a:cubicBezTo>
                    <a:pt x="42586" y="198473"/>
                    <a:pt x="35498" y="225055"/>
                    <a:pt x="31954" y="255181"/>
                  </a:cubicBezTo>
                  <a:cubicBezTo>
                    <a:pt x="28410" y="285307"/>
                    <a:pt x="26638" y="331381"/>
                    <a:pt x="31954" y="350874"/>
                  </a:cubicBezTo>
                  <a:cubicBezTo>
                    <a:pt x="37270" y="370367"/>
                    <a:pt x="69167" y="359734"/>
                    <a:pt x="63851" y="372139"/>
                  </a:cubicBezTo>
                  <a:cubicBezTo>
                    <a:pt x="58535" y="384544"/>
                    <a:pt x="1828" y="412897"/>
                    <a:pt x="56" y="425302"/>
                  </a:cubicBezTo>
                  <a:cubicBezTo>
                    <a:pt x="-1716" y="437707"/>
                    <a:pt x="39042" y="434162"/>
                    <a:pt x="53219" y="446567"/>
                  </a:cubicBezTo>
                  <a:cubicBezTo>
                    <a:pt x="67396" y="458972"/>
                    <a:pt x="79801" y="476693"/>
                    <a:pt x="85117" y="499730"/>
                  </a:cubicBezTo>
                  <a:cubicBezTo>
                    <a:pt x="90433" y="522767"/>
                    <a:pt x="85117" y="584790"/>
                    <a:pt x="85117" y="584790"/>
                  </a:cubicBezTo>
                  <a:cubicBezTo>
                    <a:pt x="85117" y="607827"/>
                    <a:pt x="86889" y="620232"/>
                    <a:pt x="85117" y="637953"/>
                  </a:cubicBezTo>
                  <a:cubicBezTo>
                    <a:pt x="83345" y="655674"/>
                    <a:pt x="74484" y="669851"/>
                    <a:pt x="74484" y="691116"/>
                  </a:cubicBezTo>
                  <a:cubicBezTo>
                    <a:pt x="74484" y="712381"/>
                    <a:pt x="79801" y="742507"/>
                    <a:pt x="85117" y="765544"/>
                  </a:cubicBezTo>
                  <a:cubicBezTo>
                    <a:pt x="90433" y="788581"/>
                    <a:pt x="106382" y="809846"/>
                    <a:pt x="106382" y="829339"/>
                  </a:cubicBezTo>
                  <a:cubicBezTo>
                    <a:pt x="106382" y="848832"/>
                    <a:pt x="85117" y="868325"/>
                    <a:pt x="85117" y="882502"/>
                  </a:cubicBezTo>
                  <a:cubicBezTo>
                    <a:pt x="85117" y="896679"/>
                    <a:pt x="104610" y="896679"/>
                    <a:pt x="106382" y="914400"/>
                  </a:cubicBezTo>
                  <a:cubicBezTo>
                    <a:pt x="108154" y="932121"/>
                    <a:pt x="79800" y="976423"/>
                    <a:pt x="95749" y="988827"/>
                  </a:cubicBezTo>
                  <a:cubicBezTo>
                    <a:pt x="111698" y="1001231"/>
                    <a:pt x="180810" y="979967"/>
                    <a:pt x="202075" y="988827"/>
                  </a:cubicBezTo>
                  <a:cubicBezTo>
                    <a:pt x="223340" y="997687"/>
                    <a:pt x="228656" y="1029585"/>
                    <a:pt x="223340" y="1041990"/>
                  </a:cubicBezTo>
                  <a:cubicBezTo>
                    <a:pt x="218024" y="1054395"/>
                    <a:pt x="168405" y="1050850"/>
                    <a:pt x="170177" y="1063255"/>
                  </a:cubicBezTo>
                  <a:cubicBezTo>
                    <a:pt x="171949" y="1075660"/>
                    <a:pt x="225111" y="1098697"/>
                    <a:pt x="233972" y="1116418"/>
                  </a:cubicBezTo>
                  <a:cubicBezTo>
                    <a:pt x="242832" y="1134139"/>
                    <a:pt x="221568" y="1155404"/>
                    <a:pt x="223340" y="1169581"/>
                  </a:cubicBezTo>
                  <a:cubicBezTo>
                    <a:pt x="225112" y="1183758"/>
                    <a:pt x="232200" y="1192619"/>
                    <a:pt x="244605" y="1201479"/>
                  </a:cubicBezTo>
                  <a:cubicBezTo>
                    <a:pt x="257010" y="1210339"/>
                    <a:pt x="280047" y="1208567"/>
                    <a:pt x="297768" y="1222744"/>
                  </a:cubicBezTo>
                  <a:cubicBezTo>
                    <a:pt x="315489" y="1236921"/>
                    <a:pt x="338526" y="1267046"/>
                    <a:pt x="350931" y="1286539"/>
                  </a:cubicBezTo>
                  <a:cubicBezTo>
                    <a:pt x="363336" y="1306032"/>
                    <a:pt x="363336" y="1329069"/>
                    <a:pt x="372196" y="1339702"/>
                  </a:cubicBezTo>
                  <a:cubicBezTo>
                    <a:pt x="381056" y="1350335"/>
                    <a:pt x="397005" y="1339702"/>
                    <a:pt x="404093" y="1350334"/>
                  </a:cubicBezTo>
                  <a:cubicBezTo>
                    <a:pt x="411181" y="1360966"/>
                    <a:pt x="400549" y="1384004"/>
                    <a:pt x="414726" y="1403497"/>
                  </a:cubicBezTo>
                  <a:cubicBezTo>
                    <a:pt x="428903" y="1422990"/>
                    <a:pt x="460800" y="1446028"/>
                    <a:pt x="489154" y="1467293"/>
                  </a:cubicBezTo>
                  <a:cubicBezTo>
                    <a:pt x="517508" y="1488558"/>
                    <a:pt x="547633" y="1509823"/>
                    <a:pt x="584847" y="1531088"/>
                  </a:cubicBezTo>
                  <a:cubicBezTo>
                    <a:pt x="622061" y="1552353"/>
                    <a:pt x="675224" y="1575390"/>
                    <a:pt x="712438" y="1594883"/>
                  </a:cubicBezTo>
                  <a:cubicBezTo>
                    <a:pt x="749652" y="1614376"/>
                    <a:pt x="776233" y="1632097"/>
                    <a:pt x="808131" y="1648046"/>
                  </a:cubicBezTo>
                  <a:cubicBezTo>
                    <a:pt x="840029" y="1663995"/>
                    <a:pt x="863066" y="1669311"/>
                    <a:pt x="903824" y="1690576"/>
                  </a:cubicBezTo>
                  <a:cubicBezTo>
                    <a:pt x="944582" y="1711841"/>
                    <a:pt x="1052679" y="1775637"/>
                    <a:pt x="1052679" y="1775637"/>
                  </a:cubicBezTo>
                  <a:cubicBezTo>
                    <a:pt x="1089893" y="1796902"/>
                    <a:pt x="1098754" y="1811079"/>
                    <a:pt x="1127107" y="1818167"/>
                  </a:cubicBezTo>
                  <a:cubicBezTo>
                    <a:pt x="1155460" y="1825255"/>
                    <a:pt x="1203307" y="1812851"/>
                    <a:pt x="1222800" y="1818167"/>
                  </a:cubicBezTo>
                  <a:cubicBezTo>
                    <a:pt x="1242293" y="1823483"/>
                    <a:pt x="1231660" y="1832344"/>
                    <a:pt x="1244065" y="1850065"/>
                  </a:cubicBezTo>
                  <a:cubicBezTo>
                    <a:pt x="1256470" y="1867786"/>
                    <a:pt x="1281279" y="1908544"/>
                    <a:pt x="1297228" y="1924493"/>
                  </a:cubicBezTo>
                  <a:cubicBezTo>
                    <a:pt x="1313177" y="1940442"/>
                    <a:pt x="1337986" y="1959935"/>
                    <a:pt x="1339758" y="1945758"/>
                  </a:cubicBezTo>
                  <a:cubicBezTo>
                    <a:pt x="1341530" y="1931581"/>
                    <a:pt x="1293684" y="1853609"/>
                    <a:pt x="1307861" y="1839432"/>
                  </a:cubicBezTo>
                  <a:cubicBezTo>
                    <a:pt x="1322038" y="1825255"/>
                    <a:pt x="1392921" y="1862469"/>
                    <a:pt x="1424819" y="1860697"/>
                  </a:cubicBezTo>
                  <a:cubicBezTo>
                    <a:pt x="1456717" y="1858925"/>
                    <a:pt x="1470893" y="1837661"/>
                    <a:pt x="1499247" y="1828800"/>
                  </a:cubicBezTo>
                  <a:cubicBezTo>
                    <a:pt x="1527600" y="1819940"/>
                    <a:pt x="1563042" y="1819939"/>
                    <a:pt x="1594940" y="1807534"/>
                  </a:cubicBezTo>
                  <a:cubicBezTo>
                    <a:pt x="1626838" y="1795129"/>
                    <a:pt x="1644558" y="1791586"/>
                    <a:pt x="1680000" y="1743739"/>
                  </a:cubicBezTo>
                  <a:close/>
                </a:path>
              </a:pathLst>
            </a:cu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Georgia" panose="02040502050405020303" pitchFamily="18" charset="0"/>
                <a:ea typeface="ＭＳ Ｐ明朝" panose="02020600040205080304" pitchFamily="18" charset="-128"/>
              </a:endParaRPr>
            </a:p>
          </p:txBody>
        </p:sp>
        <p:sp>
          <p:nvSpPr>
            <p:cNvPr id="142" name="フリーフォーム 141"/>
            <p:cNvSpPr/>
            <p:nvPr/>
          </p:nvSpPr>
          <p:spPr>
            <a:xfrm>
              <a:off x="445311" y="2827370"/>
              <a:ext cx="1138940" cy="1287504"/>
            </a:xfrm>
            <a:custGeom>
              <a:avLst/>
              <a:gdLst>
                <a:gd name="connsiteX0" fmla="*/ 586047 w 1138940"/>
                <a:gd name="connsiteY0" fmla="*/ 511253 h 1287504"/>
                <a:gd name="connsiteX1" fmla="*/ 607312 w 1138940"/>
                <a:gd name="connsiteY1" fmla="*/ 426193 h 1287504"/>
                <a:gd name="connsiteX2" fmla="*/ 522252 w 1138940"/>
                <a:gd name="connsiteY2" fmla="*/ 394295 h 1287504"/>
                <a:gd name="connsiteX3" fmla="*/ 394661 w 1138940"/>
                <a:gd name="connsiteY3" fmla="*/ 394295 h 1287504"/>
                <a:gd name="connsiteX4" fmla="*/ 352131 w 1138940"/>
                <a:gd name="connsiteY4" fmla="*/ 319867 h 1287504"/>
                <a:gd name="connsiteX5" fmla="*/ 298968 w 1138940"/>
                <a:gd name="connsiteY5" fmla="*/ 256072 h 1287504"/>
                <a:gd name="connsiteX6" fmla="*/ 277703 w 1138940"/>
                <a:gd name="connsiteY6" fmla="*/ 160379 h 1287504"/>
                <a:gd name="connsiteX7" fmla="*/ 267070 w 1138940"/>
                <a:gd name="connsiteY7" fmla="*/ 128481 h 1287504"/>
                <a:gd name="connsiteX8" fmla="*/ 277703 w 1138940"/>
                <a:gd name="connsiteY8" fmla="*/ 64686 h 1287504"/>
                <a:gd name="connsiteX9" fmla="*/ 213908 w 1138940"/>
                <a:gd name="connsiteY9" fmla="*/ 890 h 1287504"/>
                <a:gd name="connsiteX10" fmla="*/ 150112 w 1138940"/>
                <a:gd name="connsiteY10" fmla="*/ 32788 h 1287504"/>
                <a:gd name="connsiteX11" fmla="*/ 139480 w 1138940"/>
                <a:gd name="connsiteY11" fmla="*/ 107216 h 1287504"/>
                <a:gd name="connsiteX12" fmla="*/ 128847 w 1138940"/>
                <a:gd name="connsiteY12" fmla="*/ 181644 h 1287504"/>
                <a:gd name="connsiteX13" fmla="*/ 96949 w 1138940"/>
                <a:gd name="connsiteY13" fmla="*/ 224174 h 1287504"/>
                <a:gd name="connsiteX14" fmla="*/ 11889 w 1138940"/>
                <a:gd name="connsiteY14" fmla="*/ 234807 h 1287504"/>
                <a:gd name="connsiteX15" fmla="*/ 11889 w 1138940"/>
                <a:gd name="connsiteY15" fmla="*/ 298602 h 1287504"/>
                <a:gd name="connsiteX16" fmla="*/ 54419 w 1138940"/>
                <a:gd name="connsiteY16" fmla="*/ 383663 h 1287504"/>
                <a:gd name="connsiteX17" fmla="*/ 54419 w 1138940"/>
                <a:gd name="connsiteY17" fmla="*/ 468723 h 1287504"/>
                <a:gd name="connsiteX18" fmla="*/ 1256 w 1138940"/>
                <a:gd name="connsiteY18" fmla="*/ 489988 h 1287504"/>
                <a:gd name="connsiteX19" fmla="*/ 22522 w 1138940"/>
                <a:gd name="connsiteY19" fmla="*/ 532518 h 1287504"/>
                <a:gd name="connsiteX20" fmla="*/ 86317 w 1138940"/>
                <a:gd name="connsiteY20" fmla="*/ 543151 h 1287504"/>
                <a:gd name="connsiteX21" fmla="*/ 43787 w 1138940"/>
                <a:gd name="connsiteY21" fmla="*/ 596314 h 1287504"/>
                <a:gd name="connsiteX22" fmla="*/ 54419 w 1138940"/>
                <a:gd name="connsiteY22" fmla="*/ 702639 h 1287504"/>
                <a:gd name="connsiteX23" fmla="*/ 128847 w 1138940"/>
                <a:gd name="connsiteY23" fmla="*/ 628211 h 1287504"/>
                <a:gd name="connsiteX24" fmla="*/ 128847 w 1138940"/>
                <a:gd name="connsiteY24" fmla="*/ 713272 h 1287504"/>
                <a:gd name="connsiteX25" fmla="*/ 150112 w 1138940"/>
                <a:gd name="connsiteY25" fmla="*/ 734537 h 1287504"/>
                <a:gd name="connsiteX26" fmla="*/ 139480 w 1138940"/>
                <a:gd name="connsiteY26" fmla="*/ 808965 h 1287504"/>
                <a:gd name="connsiteX27" fmla="*/ 96949 w 1138940"/>
                <a:gd name="connsiteY27" fmla="*/ 840863 h 1287504"/>
                <a:gd name="connsiteX28" fmla="*/ 107582 w 1138940"/>
                <a:gd name="connsiteY28" fmla="*/ 925923 h 1287504"/>
                <a:gd name="connsiteX29" fmla="*/ 203275 w 1138940"/>
                <a:gd name="connsiteY29" fmla="*/ 1021616 h 1287504"/>
                <a:gd name="connsiteX30" fmla="*/ 256438 w 1138940"/>
                <a:gd name="connsiteY30" fmla="*/ 1085411 h 1287504"/>
                <a:gd name="connsiteX31" fmla="*/ 277703 w 1138940"/>
                <a:gd name="connsiteY31" fmla="*/ 1096044 h 1287504"/>
                <a:gd name="connsiteX32" fmla="*/ 341498 w 1138940"/>
                <a:gd name="connsiteY32" fmla="*/ 1159839 h 1287504"/>
                <a:gd name="connsiteX33" fmla="*/ 394661 w 1138940"/>
                <a:gd name="connsiteY33" fmla="*/ 1181104 h 1287504"/>
                <a:gd name="connsiteX34" fmla="*/ 447824 w 1138940"/>
                <a:gd name="connsiteY34" fmla="*/ 1159839 h 1287504"/>
                <a:gd name="connsiteX35" fmla="*/ 511619 w 1138940"/>
                <a:gd name="connsiteY35" fmla="*/ 1181104 h 1287504"/>
                <a:gd name="connsiteX36" fmla="*/ 617945 w 1138940"/>
                <a:gd name="connsiteY36" fmla="*/ 1234267 h 1287504"/>
                <a:gd name="connsiteX37" fmla="*/ 766801 w 1138940"/>
                <a:gd name="connsiteY37" fmla="*/ 1287430 h 1287504"/>
                <a:gd name="connsiteX38" fmla="*/ 894391 w 1138940"/>
                <a:gd name="connsiteY38" fmla="*/ 1244900 h 1287504"/>
                <a:gd name="connsiteX39" fmla="*/ 1000717 w 1138940"/>
                <a:gd name="connsiteY39" fmla="*/ 1202370 h 1287504"/>
                <a:gd name="connsiteX40" fmla="*/ 1075145 w 1138940"/>
                <a:gd name="connsiteY40" fmla="*/ 1149207 h 1287504"/>
                <a:gd name="connsiteX41" fmla="*/ 1128308 w 1138940"/>
                <a:gd name="connsiteY41" fmla="*/ 1085411 h 1287504"/>
                <a:gd name="connsiteX42" fmla="*/ 1138940 w 1138940"/>
                <a:gd name="connsiteY42" fmla="*/ 1042881 h 1287504"/>
                <a:gd name="connsiteX43" fmla="*/ 1107042 w 1138940"/>
                <a:gd name="connsiteY43" fmla="*/ 968453 h 1287504"/>
                <a:gd name="connsiteX44" fmla="*/ 1096410 w 1138940"/>
                <a:gd name="connsiteY44" fmla="*/ 872760 h 1287504"/>
                <a:gd name="connsiteX45" fmla="*/ 1043247 w 1138940"/>
                <a:gd name="connsiteY45" fmla="*/ 862128 h 1287504"/>
                <a:gd name="connsiteX46" fmla="*/ 990084 w 1138940"/>
                <a:gd name="connsiteY46" fmla="*/ 808965 h 1287504"/>
                <a:gd name="connsiteX47" fmla="*/ 926289 w 1138940"/>
                <a:gd name="connsiteY47" fmla="*/ 787700 h 1287504"/>
                <a:gd name="connsiteX48" fmla="*/ 894391 w 1138940"/>
                <a:gd name="connsiteY48" fmla="*/ 723904 h 1287504"/>
                <a:gd name="connsiteX49" fmla="*/ 905024 w 1138940"/>
                <a:gd name="connsiteY49" fmla="*/ 638844 h 1287504"/>
                <a:gd name="connsiteX50" fmla="*/ 841229 w 1138940"/>
                <a:gd name="connsiteY50" fmla="*/ 628211 h 1287504"/>
                <a:gd name="connsiteX51" fmla="*/ 819963 w 1138940"/>
                <a:gd name="connsiteY51" fmla="*/ 564416 h 1287504"/>
                <a:gd name="connsiteX52" fmla="*/ 766801 w 1138940"/>
                <a:gd name="connsiteY52" fmla="*/ 532518 h 1287504"/>
                <a:gd name="connsiteX53" fmla="*/ 745536 w 1138940"/>
                <a:gd name="connsiteY53" fmla="*/ 500621 h 1287504"/>
                <a:gd name="connsiteX54" fmla="*/ 649842 w 1138940"/>
                <a:gd name="connsiteY54" fmla="*/ 489988 h 1287504"/>
                <a:gd name="connsiteX55" fmla="*/ 586047 w 1138940"/>
                <a:gd name="connsiteY55" fmla="*/ 511253 h 128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38940" h="1287504">
                  <a:moveTo>
                    <a:pt x="586047" y="511253"/>
                  </a:moveTo>
                  <a:cubicBezTo>
                    <a:pt x="578959" y="500621"/>
                    <a:pt x="617944" y="445686"/>
                    <a:pt x="607312" y="426193"/>
                  </a:cubicBezTo>
                  <a:cubicBezTo>
                    <a:pt x="596680" y="406700"/>
                    <a:pt x="557694" y="399611"/>
                    <a:pt x="522252" y="394295"/>
                  </a:cubicBezTo>
                  <a:cubicBezTo>
                    <a:pt x="486810" y="388979"/>
                    <a:pt x="423014" y="406700"/>
                    <a:pt x="394661" y="394295"/>
                  </a:cubicBezTo>
                  <a:cubicBezTo>
                    <a:pt x="366308" y="381890"/>
                    <a:pt x="368080" y="342904"/>
                    <a:pt x="352131" y="319867"/>
                  </a:cubicBezTo>
                  <a:cubicBezTo>
                    <a:pt x="336182" y="296830"/>
                    <a:pt x="311373" y="282653"/>
                    <a:pt x="298968" y="256072"/>
                  </a:cubicBezTo>
                  <a:cubicBezTo>
                    <a:pt x="286563" y="229491"/>
                    <a:pt x="283019" y="181644"/>
                    <a:pt x="277703" y="160379"/>
                  </a:cubicBezTo>
                  <a:cubicBezTo>
                    <a:pt x="272387" y="139114"/>
                    <a:pt x="267070" y="144430"/>
                    <a:pt x="267070" y="128481"/>
                  </a:cubicBezTo>
                  <a:cubicBezTo>
                    <a:pt x="267070" y="112532"/>
                    <a:pt x="286563" y="85951"/>
                    <a:pt x="277703" y="64686"/>
                  </a:cubicBezTo>
                  <a:cubicBezTo>
                    <a:pt x="268843" y="43421"/>
                    <a:pt x="235173" y="6206"/>
                    <a:pt x="213908" y="890"/>
                  </a:cubicBezTo>
                  <a:cubicBezTo>
                    <a:pt x="192643" y="-4426"/>
                    <a:pt x="162517" y="15067"/>
                    <a:pt x="150112" y="32788"/>
                  </a:cubicBezTo>
                  <a:cubicBezTo>
                    <a:pt x="137707" y="50509"/>
                    <a:pt x="139480" y="107216"/>
                    <a:pt x="139480" y="107216"/>
                  </a:cubicBezTo>
                  <a:cubicBezTo>
                    <a:pt x="135936" y="132025"/>
                    <a:pt x="135935" y="162151"/>
                    <a:pt x="128847" y="181644"/>
                  </a:cubicBezTo>
                  <a:cubicBezTo>
                    <a:pt x="121759" y="201137"/>
                    <a:pt x="116442" y="215314"/>
                    <a:pt x="96949" y="224174"/>
                  </a:cubicBezTo>
                  <a:cubicBezTo>
                    <a:pt x="77456" y="233034"/>
                    <a:pt x="26066" y="222402"/>
                    <a:pt x="11889" y="234807"/>
                  </a:cubicBezTo>
                  <a:cubicBezTo>
                    <a:pt x="-2288" y="247212"/>
                    <a:pt x="4801" y="273793"/>
                    <a:pt x="11889" y="298602"/>
                  </a:cubicBezTo>
                  <a:cubicBezTo>
                    <a:pt x="18977" y="323411"/>
                    <a:pt x="47331" y="355310"/>
                    <a:pt x="54419" y="383663"/>
                  </a:cubicBezTo>
                  <a:cubicBezTo>
                    <a:pt x="61507" y="412016"/>
                    <a:pt x="63279" y="451002"/>
                    <a:pt x="54419" y="468723"/>
                  </a:cubicBezTo>
                  <a:cubicBezTo>
                    <a:pt x="45559" y="486444"/>
                    <a:pt x="6572" y="479355"/>
                    <a:pt x="1256" y="489988"/>
                  </a:cubicBezTo>
                  <a:cubicBezTo>
                    <a:pt x="-4060" y="500620"/>
                    <a:pt x="8345" y="523658"/>
                    <a:pt x="22522" y="532518"/>
                  </a:cubicBezTo>
                  <a:cubicBezTo>
                    <a:pt x="36699" y="541378"/>
                    <a:pt x="82773" y="532518"/>
                    <a:pt x="86317" y="543151"/>
                  </a:cubicBezTo>
                  <a:cubicBezTo>
                    <a:pt x="89861" y="553784"/>
                    <a:pt x="49103" y="569733"/>
                    <a:pt x="43787" y="596314"/>
                  </a:cubicBezTo>
                  <a:cubicBezTo>
                    <a:pt x="38471" y="622895"/>
                    <a:pt x="40242" y="697323"/>
                    <a:pt x="54419" y="702639"/>
                  </a:cubicBezTo>
                  <a:cubicBezTo>
                    <a:pt x="68596" y="707955"/>
                    <a:pt x="116442" y="626439"/>
                    <a:pt x="128847" y="628211"/>
                  </a:cubicBezTo>
                  <a:cubicBezTo>
                    <a:pt x="141252" y="629983"/>
                    <a:pt x="125303" y="695551"/>
                    <a:pt x="128847" y="713272"/>
                  </a:cubicBezTo>
                  <a:cubicBezTo>
                    <a:pt x="132391" y="730993"/>
                    <a:pt x="148340" y="718588"/>
                    <a:pt x="150112" y="734537"/>
                  </a:cubicBezTo>
                  <a:cubicBezTo>
                    <a:pt x="151884" y="750486"/>
                    <a:pt x="148340" y="791244"/>
                    <a:pt x="139480" y="808965"/>
                  </a:cubicBezTo>
                  <a:cubicBezTo>
                    <a:pt x="130619" y="826686"/>
                    <a:pt x="102265" y="821370"/>
                    <a:pt x="96949" y="840863"/>
                  </a:cubicBezTo>
                  <a:cubicBezTo>
                    <a:pt x="91633" y="860356"/>
                    <a:pt x="89861" y="895798"/>
                    <a:pt x="107582" y="925923"/>
                  </a:cubicBezTo>
                  <a:cubicBezTo>
                    <a:pt x="125303" y="956049"/>
                    <a:pt x="178466" y="995035"/>
                    <a:pt x="203275" y="1021616"/>
                  </a:cubicBezTo>
                  <a:cubicBezTo>
                    <a:pt x="228084" y="1048197"/>
                    <a:pt x="244033" y="1073006"/>
                    <a:pt x="256438" y="1085411"/>
                  </a:cubicBezTo>
                  <a:cubicBezTo>
                    <a:pt x="268843" y="1097816"/>
                    <a:pt x="263526" y="1083639"/>
                    <a:pt x="277703" y="1096044"/>
                  </a:cubicBezTo>
                  <a:cubicBezTo>
                    <a:pt x="291880" y="1108449"/>
                    <a:pt x="322005" y="1145662"/>
                    <a:pt x="341498" y="1159839"/>
                  </a:cubicBezTo>
                  <a:cubicBezTo>
                    <a:pt x="360991" y="1174016"/>
                    <a:pt x="376940" y="1181104"/>
                    <a:pt x="394661" y="1181104"/>
                  </a:cubicBezTo>
                  <a:cubicBezTo>
                    <a:pt x="412382" y="1181104"/>
                    <a:pt x="428331" y="1159839"/>
                    <a:pt x="447824" y="1159839"/>
                  </a:cubicBezTo>
                  <a:cubicBezTo>
                    <a:pt x="467317" y="1159839"/>
                    <a:pt x="483266" y="1168699"/>
                    <a:pt x="511619" y="1181104"/>
                  </a:cubicBezTo>
                  <a:cubicBezTo>
                    <a:pt x="539972" y="1193509"/>
                    <a:pt x="575415" y="1216546"/>
                    <a:pt x="617945" y="1234267"/>
                  </a:cubicBezTo>
                  <a:cubicBezTo>
                    <a:pt x="660475" y="1251988"/>
                    <a:pt x="720727" y="1285658"/>
                    <a:pt x="766801" y="1287430"/>
                  </a:cubicBezTo>
                  <a:cubicBezTo>
                    <a:pt x="812875" y="1289202"/>
                    <a:pt x="855405" y="1259077"/>
                    <a:pt x="894391" y="1244900"/>
                  </a:cubicBezTo>
                  <a:cubicBezTo>
                    <a:pt x="933377" y="1230723"/>
                    <a:pt x="970591" y="1218319"/>
                    <a:pt x="1000717" y="1202370"/>
                  </a:cubicBezTo>
                  <a:cubicBezTo>
                    <a:pt x="1030843" y="1186421"/>
                    <a:pt x="1053880" y="1168700"/>
                    <a:pt x="1075145" y="1149207"/>
                  </a:cubicBezTo>
                  <a:cubicBezTo>
                    <a:pt x="1096410" y="1129714"/>
                    <a:pt x="1117676" y="1103132"/>
                    <a:pt x="1128308" y="1085411"/>
                  </a:cubicBezTo>
                  <a:cubicBezTo>
                    <a:pt x="1138940" y="1067690"/>
                    <a:pt x="1142484" y="1062374"/>
                    <a:pt x="1138940" y="1042881"/>
                  </a:cubicBezTo>
                  <a:cubicBezTo>
                    <a:pt x="1135396" y="1023388"/>
                    <a:pt x="1114130" y="996806"/>
                    <a:pt x="1107042" y="968453"/>
                  </a:cubicBezTo>
                  <a:cubicBezTo>
                    <a:pt x="1099954" y="940100"/>
                    <a:pt x="1107042" y="890481"/>
                    <a:pt x="1096410" y="872760"/>
                  </a:cubicBezTo>
                  <a:cubicBezTo>
                    <a:pt x="1085778" y="855039"/>
                    <a:pt x="1060968" y="872760"/>
                    <a:pt x="1043247" y="862128"/>
                  </a:cubicBezTo>
                  <a:cubicBezTo>
                    <a:pt x="1025526" y="851496"/>
                    <a:pt x="1009577" y="821370"/>
                    <a:pt x="990084" y="808965"/>
                  </a:cubicBezTo>
                  <a:cubicBezTo>
                    <a:pt x="970591" y="796560"/>
                    <a:pt x="942238" y="801877"/>
                    <a:pt x="926289" y="787700"/>
                  </a:cubicBezTo>
                  <a:cubicBezTo>
                    <a:pt x="910340" y="773523"/>
                    <a:pt x="897935" y="748713"/>
                    <a:pt x="894391" y="723904"/>
                  </a:cubicBezTo>
                  <a:cubicBezTo>
                    <a:pt x="890847" y="699095"/>
                    <a:pt x="913884" y="654793"/>
                    <a:pt x="905024" y="638844"/>
                  </a:cubicBezTo>
                  <a:cubicBezTo>
                    <a:pt x="896164" y="622895"/>
                    <a:pt x="855406" y="640616"/>
                    <a:pt x="841229" y="628211"/>
                  </a:cubicBezTo>
                  <a:cubicBezTo>
                    <a:pt x="827052" y="615806"/>
                    <a:pt x="832368" y="580365"/>
                    <a:pt x="819963" y="564416"/>
                  </a:cubicBezTo>
                  <a:cubicBezTo>
                    <a:pt x="807558" y="548467"/>
                    <a:pt x="779205" y="543150"/>
                    <a:pt x="766801" y="532518"/>
                  </a:cubicBezTo>
                  <a:cubicBezTo>
                    <a:pt x="754397" y="521886"/>
                    <a:pt x="765029" y="507709"/>
                    <a:pt x="745536" y="500621"/>
                  </a:cubicBezTo>
                  <a:cubicBezTo>
                    <a:pt x="726043" y="493533"/>
                    <a:pt x="674651" y="489988"/>
                    <a:pt x="649842" y="489988"/>
                  </a:cubicBezTo>
                  <a:cubicBezTo>
                    <a:pt x="625033" y="489988"/>
                    <a:pt x="593135" y="521885"/>
                    <a:pt x="586047" y="511253"/>
                  </a:cubicBezTo>
                  <a:close/>
                </a:path>
              </a:pathLst>
            </a:cu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Georgia" panose="02040502050405020303" pitchFamily="18" charset="0"/>
                <a:ea typeface="ＭＳ Ｐ明朝" panose="02020600040205080304" pitchFamily="18" charset="-128"/>
              </a:endParaRPr>
            </a:p>
          </p:txBody>
        </p:sp>
        <p:sp>
          <p:nvSpPr>
            <p:cNvPr id="143" name="フリーフォーム 142"/>
            <p:cNvSpPr/>
            <p:nvPr/>
          </p:nvSpPr>
          <p:spPr>
            <a:xfrm>
              <a:off x="4327451" y="5433237"/>
              <a:ext cx="202019" cy="212651"/>
            </a:xfrm>
            <a:custGeom>
              <a:avLst/>
              <a:gdLst>
                <a:gd name="connsiteX0" fmla="*/ 0 w 202019"/>
                <a:gd name="connsiteY0" fmla="*/ 212651 h 212651"/>
                <a:gd name="connsiteX1" fmla="*/ 63796 w 202019"/>
                <a:gd name="connsiteY1" fmla="*/ 170121 h 212651"/>
                <a:gd name="connsiteX2" fmla="*/ 159489 w 202019"/>
                <a:gd name="connsiteY2" fmla="*/ 85061 h 212651"/>
                <a:gd name="connsiteX3" fmla="*/ 180754 w 202019"/>
                <a:gd name="connsiteY3" fmla="*/ 31898 h 212651"/>
                <a:gd name="connsiteX4" fmla="*/ 202019 w 202019"/>
                <a:gd name="connsiteY4" fmla="*/ 0 h 2126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019" h="212651">
                  <a:moveTo>
                    <a:pt x="0" y="212651"/>
                  </a:moveTo>
                  <a:cubicBezTo>
                    <a:pt x="18607" y="202018"/>
                    <a:pt x="37215" y="191386"/>
                    <a:pt x="63796" y="170121"/>
                  </a:cubicBezTo>
                  <a:cubicBezTo>
                    <a:pt x="90377" y="148856"/>
                    <a:pt x="139996" y="108098"/>
                    <a:pt x="159489" y="85061"/>
                  </a:cubicBezTo>
                  <a:cubicBezTo>
                    <a:pt x="178982" y="62024"/>
                    <a:pt x="173666" y="46075"/>
                    <a:pt x="180754" y="31898"/>
                  </a:cubicBezTo>
                  <a:cubicBezTo>
                    <a:pt x="187842" y="17721"/>
                    <a:pt x="202019" y="0"/>
                    <a:pt x="202019" y="0"/>
                  </a:cubicBez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Georgia" panose="02040502050405020303" pitchFamily="18" charset="0"/>
                <a:ea typeface="ＭＳ Ｐ明朝" panose="02020600040205080304" pitchFamily="18" charset="-128"/>
              </a:endParaRPr>
            </a:p>
          </p:txBody>
        </p:sp>
        <p:sp>
          <p:nvSpPr>
            <p:cNvPr id="144" name="フリーフォーム 143"/>
            <p:cNvSpPr/>
            <p:nvPr/>
          </p:nvSpPr>
          <p:spPr>
            <a:xfrm>
              <a:off x="3124645" y="-27736"/>
              <a:ext cx="642453" cy="522019"/>
            </a:xfrm>
            <a:custGeom>
              <a:avLst/>
              <a:gdLst>
                <a:gd name="connsiteX0" fmla="*/ 692 w 642453"/>
                <a:gd name="connsiteY0" fmla="*/ 177861 h 522019"/>
                <a:gd name="connsiteX1" fmla="*/ 96227 w 642453"/>
                <a:gd name="connsiteY1" fmla="*/ 314339 h 522019"/>
                <a:gd name="connsiteX2" fmla="*/ 191761 w 642453"/>
                <a:gd name="connsiteY2" fmla="*/ 368930 h 522019"/>
                <a:gd name="connsiteX3" fmla="*/ 273648 w 642453"/>
                <a:gd name="connsiteY3" fmla="*/ 464464 h 522019"/>
                <a:gd name="connsiteX4" fmla="*/ 314591 w 642453"/>
                <a:gd name="connsiteY4" fmla="*/ 519055 h 522019"/>
                <a:gd name="connsiteX5" fmla="*/ 396477 w 642453"/>
                <a:gd name="connsiteY5" fmla="*/ 505408 h 522019"/>
                <a:gd name="connsiteX6" fmla="*/ 437421 w 642453"/>
                <a:gd name="connsiteY6" fmla="*/ 519055 h 522019"/>
                <a:gd name="connsiteX7" fmla="*/ 478364 w 642453"/>
                <a:gd name="connsiteY7" fmla="*/ 437169 h 522019"/>
                <a:gd name="connsiteX8" fmla="*/ 478364 w 642453"/>
                <a:gd name="connsiteY8" fmla="*/ 382578 h 522019"/>
                <a:gd name="connsiteX9" fmla="*/ 573898 w 642453"/>
                <a:gd name="connsiteY9" fmla="*/ 437169 h 522019"/>
                <a:gd name="connsiteX10" fmla="*/ 642137 w 642453"/>
                <a:gd name="connsiteY10" fmla="*/ 423521 h 522019"/>
                <a:gd name="connsiteX11" fmla="*/ 546603 w 642453"/>
                <a:gd name="connsiteY11" fmla="*/ 191509 h 522019"/>
                <a:gd name="connsiteX12" fmla="*/ 464716 w 642453"/>
                <a:gd name="connsiteY12" fmla="*/ 123270 h 522019"/>
                <a:gd name="connsiteX13" fmla="*/ 410125 w 642453"/>
                <a:gd name="connsiteY13" fmla="*/ 123270 h 522019"/>
                <a:gd name="connsiteX14" fmla="*/ 369182 w 642453"/>
                <a:gd name="connsiteY14" fmla="*/ 68679 h 522019"/>
                <a:gd name="connsiteX15" fmla="*/ 287295 w 642453"/>
                <a:gd name="connsiteY15" fmla="*/ 440 h 522019"/>
                <a:gd name="connsiteX16" fmla="*/ 123522 w 642453"/>
                <a:gd name="connsiteY16" fmla="*/ 41384 h 522019"/>
                <a:gd name="connsiteX17" fmla="*/ 55283 w 642453"/>
                <a:gd name="connsiteY17" fmla="*/ 82327 h 522019"/>
                <a:gd name="connsiteX18" fmla="*/ 692 w 642453"/>
                <a:gd name="connsiteY18" fmla="*/ 177861 h 522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2453" h="522019">
                  <a:moveTo>
                    <a:pt x="692" y="177861"/>
                  </a:moveTo>
                  <a:cubicBezTo>
                    <a:pt x="7516" y="216530"/>
                    <a:pt x="64382" y="282494"/>
                    <a:pt x="96227" y="314339"/>
                  </a:cubicBezTo>
                  <a:cubicBezTo>
                    <a:pt x="128072" y="346184"/>
                    <a:pt x="162191" y="343909"/>
                    <a:pt x="191761" y="368930"/>
                  </a:cubicBezTo>
                  <a:cubicBezTo>
                    <a:pt x="221331" y="393951"/>
                    <a:pt x="253176" y="439443"/>
                    <a:pt x="273648" y="464464"/>
                  </a:cubicBezTo>
                  <a:cubicBezTo>
                    <a:pt x="294120" y="489485"/>
                    <a:pt x="294120" y="512231"/>
                    <a:pt x="314591" y="519055"/>
                  </a:cubicBezTo>
                  <a:cubicBezTo>
                    <a:pt x="335062" y="525879"/>
                    <a:pt x="376005" y="505408"/>
                    <a:pt x="396477" y="505408"/>
                  </a:cubicBezTo>
                  <a:cubicBezTo>
                    <a:pt x="416949" y="505408"/>
                    <a:pt x="423773" y="530428"/>
                    <a:pt x="437421" y="519055"/>
                  </a:cubicBezTo>
                  <a:cubicBezTo>
                    <a:pt x="451069" y="507682"/>
                    <a:pt x="471540" y="459915"/>
                    <a:pt x="478364" y="437169"/>
                  </a:cubicBezTo>
                  <a:cubicBezTo>
                    <a:pt x="485188" y="414423"/>
                    <a:pt x="462442" y="382578"/>
                    <a:pt x="478364" y="382578"/>
                  </a:cubicBezTo>
                  <a:cubicBezTo>
                    <a:pt x="494286" y="382578"/>
                    <a:pt x="546602" y="430345"/>
                    <a:pt x="573898" y="437169"/>
                  </a:cubicBezTo>
                  <a:cubicBezTo>
                    <a:pt x="601194" y="443993"/>
                    <a:pt x="646686" y="464464"/>
                    <a:pt x="642137" y="423521"/>
                  </a:cubicBezTo>
                  <a:cubicBezTo>
                    <a:pt x="637588" y="382578"/>
                    <a:pt x="576173" y="241551"/>
                    <a:pt x="546603" y="191509"/>
                  </a:cubicBezTo>
                  <a:cubicBezTo>
                    <a:pt x="517033" y="141467"/>
                    <a:pt x="487462" y="134643"/>
                    <a:pt x="464716" y="123270"/>
                  </a:cubicBezTo>
                  <a:cubicBezTo>
                    <a:pt x="441970" y="111897"/>
                    <a:pt x="426047" y="132368"/>
                    <a:pt x="410125" y="123270"/>
                  </a:cubicBezTo>
                  <a:cubicBezTo>
                    <a:pt x="394203" y="114171"/>
                    <a:pt x="389654" y="89151"/>
                    <a:pt x="369182" y="68679"/>
                  </a:cubicBezTo>
                  <a:cubicBezTo>
                    <a:pt x="348710" y="48207"/>
                    <a:pt x="328238" y="4989"/>
                    <a:pt x="287295" y="440"/>
                  </a:cubicBezTo>
                  <a:cubicBezTo>
                    <a:pt x="246352" y="-4109"/>
                    <a:pt x="162191" y="27736"/>
                    <a:pt x="123522" y="41384"/>
                  </a:cubicBezTo>
                  <a:cubicBezTo>
                    <a:pt x="84853" y="55032"/>
                    <a:pt x="71205" y="64130"/>
                    <a:pt x="55283" y="82327"/>
                  </a:cubicBezTo>
                  <a:cubicBezTo>
                    <a:pt x="39361" y="100524"/>
                    <a:pt x="-6132" y="139192"/>
                    <a:pt x="692" y="177861"/>
                  </a:cubicBezTo>
                  <a:close/>
                </a:path>
              </a:pathLst>
            </a:cu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Georgia" panose="02040502050405020303" pitchFamily="18" charset="0"/>
                <a:ea typeface="ＭＳ Ｐ明朝" panose="02020600040205080304" pitchFamily="18" charset="-128"/>
              </a:endParaRPr>
            </a:p>
          </p:txBody>
        </p:sp>
        <p:sp>
          <p:nvSpPr>
            <p:cNvPr id="145" name="フリーフォーム 144"/>
            <p:cNvSpPr/>
            <p:nvPr/>
          </p:nvSpPr>
          <p:spPr>
            <a:xfrm>
              <a:off x="5167447" y="531655"/>
              <a:ext cx="115849" cy="225625"/>
            </a:xfrm>
            <a:custGeom>
              <a:avLst/>
              <a:gdLst>
                <a:gd name="connsiteX0" fmla="*/ 86941 w 115849"/>
                <a:gd name="connsiteY0" fmla="*/ 205324 h 225625"/>
                <a:gd name="connsiteX1" fmla="*/ 114237 w 115849"/>
                <a:gd name="connsiteY1" fmla="*/ 137085 h 225625"/>
                <a:gd name="connsiteX2" fmla="*/ 45998 w 115849"/>
                <a:gd name="connsiteY2" fmla="*/ 68846 h 225625"/>
                <a:gd name="connsiteX3" fmla="*/ 5054 w 115849"/>
                <a:gd name="connsiteY3" fmla="*/ 608 h 225625"/>
                <a:gd name="connsiteX4" fmla="*/ 5054 w 115849"/>
                <a:gd name="connsiteY4" fmla="*/ 109790 h 225625"/>
                <a:gd name="connsiteX5" fmla="*/ 5054 w 115849"/>
                <a:gd name="connsiteY5" fmla="*/ 218972 h 225625"/>
                <a:gd name="connsiteX6" fmla="*/ 86941 w 115849"/>
                <a:gd name="connsiteY6" fmla="*/ 205324 h 225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849" h="225625">
                  <a:moveTo>
                    <a:pt x="86941" y="205324"/>
                  </a:moveTo>
                  <a:cubicBezTo>
                    <a:pt x="105138" y="191676"/>
                    <a:pt x="121061" y="159831"/>
                    <a:pt x="114237" y="137085"/>
                  </a:cubicBezTo>
                  <a:cubicBezTo>
                    <a:pt x="107413" y="114339"/>
                    <a:pt x="64195" y="91592"/>
                    <a:pt x="45998" y="68846"/>
                  </a:cubicBezTo>
                  <a:cubicBezTo>
                    <a:pt x="27801" y="46100"/>
                    <a:pt x="11878" y="-6216"/>
                    <a:pt x="5054" y="608"/>
                  </a:cubicBezTo>
                  <a:lnTo>
                    <a:pt x="5054" y="109790"/>
                  </a:lnTo>
                  <a:cubicBezTo>
                    <a:pt x="5054" y="146184"/>
                    <a:pt x="-6319" y="203050"/>
                    <a:pt x="5054" y="218972"/>
                  </a:cubicBezTo>
                  <a:cubicBezTo>
                    <a:pt x="16427" y="234894"/>
                    <a:pt x="68744" y="218972"/>
                    <a:pt x="86941" y="205324"/>
                  </a:cubicBezTo>
                  <a:close/>
                </a:path>
              </a:pathLst>
            </a:cu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Georgia" panose="02040502050405020303" pitchFamily="18" charset="0"/>
                <a:ea typeface="ＭＳ Ｐ明朝" panose="02020600040205080304" pitchFamily="18" charset="-128"/>
              </a:endParaRPr>
            </a:p>
          </p:txBody>
        </p:sp>
      </p:grpSp>
      <p:grpSp>
        <p:nvGrpSpPr>
          <p:cNvPr id="8" name="グループ化 7"/>
          <p:cNvGrpSpPr/>
          <p:nvPr/>
        </p:nvGrpSpPr>
        <p:grpSpPr>
          <a:xfrm>
            <a:off x="6012160" y="4345013"/>
            <a:ext cx="2376264" cy="744117"/>
            <a:chOff x="11298206" y="-850594"/>
            <a:chExt cx="4630666" cy="1450073"/>
          </a:xfrm>
        </p:grpSpPr>
        <p:sp>
          <p:nvSpPr>
            <p:cNvPr id="30" name="円/楕円 29"/>
            <p:cNvSpPr/>
            <p:nvPr/>
          </p:nvSpPr>
          <p:spPr>
            <a:xfrm rot="2049060">
              <a:off x="11786157" y="-123321"/>
              <a:ext cx="1258951" cy="651245"/>
            </a:xfrm>
            <a:prstGeom prst="ellipse">
              <a:avLst/>
            </a:prstGeom>
            <a:noFill/>
            <a:ln w="38100">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00">
                <a:latin typeface="Georgia" panose="02040502050405020303" pitchFamily="18" charset="0"/>
                <a:ea typeface="ＭＳ Ｐ明朝" panose="02020600040205080304" pitchFamily="18" charset="-128"/>
              </a:endParaRPr>
            </a:p>
          </p:txBody>
        </p:sp>
        <p:sp>
          <p:nvSpPr>
            <p:cNvPr id="32" name="タイトル 1"/>
            <p:cNvSpPr txBox="1">
              <a:spLocks/>
            </p:cNvSpPr>
            <p:nvPr/>
          </p:nvSpPr>
          <p:spPr>
            <a:xfrm>
              <a:off x="11298206" y="-850594"/>
              <a:ext cx="1728192" cy="28084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lvl1pPr algn="l" defTabSz="914400" rtl="0" eaLnBrk="1" latinLnBrk="0" hangingPunct="1">
                <a:lnSpc>
                  <a:spcPct val="100000"/>
                </a:lnSpc>
                <a:spcBef>
                  <a:spcPct val="0"/>
                </a:spcBef>
                <a:buNone/>
                <a:defRPr kumimoji="1" lang="en-GB" altLang="ja-JP" sz="2400" b="1" i="1" kern="1200" baseline="0" noProof="0">
                  <a:solidFill>
                    <a:schemeClr val="tx1"/>
                  </a:solidFill>
                  <a:latin typeface="+mj-lt"/>
                  <a:ea typeface="+mj-ea"/>
                  <a:cs typeface="+mj-cs"/>
                </a:defRPr>
              </a:lvl1pPr>
            </a:lstStyle>
            <a:p>
              <a:pPr marL="177800" indent="-177800" fontAlgn="base" hangingPunct="0">
                <a:spcAft>
                  <a:spcPct val="0"/>
                </a:spcAft>
                <a:buSzPct val="100000"/>
              </a:pPr>
              <a:r>
                <a:rPr kumimoji="0" lang="ja-JP" altLang="en-US" sz="1000" i="0" u="sng" dirty="0">
                  <a:solidFill>
                    <a:schemeClr val="accent2"/>
                  </a:solidFill>
                  <a:latin typeface="Georgia" panose="02040502050405020303" pitchFamily="18" charset="0"/>
                  <a:ea typeface="ＭＳ Ｐ明朝" panose="02020600040205080304" pitchFamily="18" charset="-128"/>
                  <a:cs typeface="Arial" charset="0"/>
                </a:rPr>
                <a:t>下地島</a:t>
              </a:r>
              <a:endParaRPr kumimoji="0" lang="en-US" sz="1000" i="0" u="sng" dirty="0">
                <a:solidFill>
                  <a:schemeClr val="accent2"/>
                </a:solidFill>
                <a:latin typeface="Georgia" panose="02040502050405020303" pitchFamily="18" charset="0"/>
                <a:ea typeface="ＭＳ Ｐ明朝" panose="02020600040205080304" pitchFamily="18" charset="-128"/>
                <a:cs typeface="Arial" charset="0"/>
              </a:endParaRPr>
            </a:p>
          </p:txBody>
        </p:sp>
        <p:sp>
          <p:nvSpPr>
            <p:cNvPr id="33" name="タイトル 1"/>
            <p:cNvSpPr txBox="1">
              <a:spLocks/>
            </p:cNvSpPr>
            <p:nvPr/>
          </p:nvSpPr>
          <p:spPr>
            <a:xfrm>
              <a:off x="12493485" y="-710271"/>
              <a:ext cx="909569" cy="28084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lvl1pPr algn="l" defTabSz="914400" rtl="0" eaLnBrk="1" latinLnBrk="0" hangingPunct="1">
                <a:lnSpc>
                  <a:spcPct val="100000"/>
                </a:lnSpc>
                <a:spcBef>
                  <a:spcPct val="0"/>
                </a:spcBef>
                <a:buNone/>
                <a:defRPr kumimoji="1" lang="en-GB" altLang="ja-JP" sz="2400" b="1" i="1" kern="1200" baseline="0" noProof="0">
                  <a:solidFill>
                    <a:schemeClr val="tx1"/>
                  </a:solidFill>
                  <a:latin typeface="+mj-lt"/>
                  <a:ea typeface="+mj-ea"/>
                  <a:cs typeface="+mj-cs"/>
                </a:defRPr>
              </a:lvl1pPr>
            </a:lstStyle>
            <a:p>
              <a:pPr marL="177800" indent="-177800" fontAlgn="base" hangingPunct="0">
                <a:spcAft>
                  <a:spcPct val="0"/>
                </a:spcAft>
                <a:buSzPct val="100000"/>
              </a:pPr>
              <a:r>
                <a:rPr kumimoji="0" lang="ja-JP" altLang="en-US" sz="900" i="0" dirty="0">
                  <a:solidFill>
                    <a:srgbClr val="000000"/>
                  </a:solidFill>
                  <a:latin typeface="Georgia" panose="02040502050405020303" pitchFamily="18" charset="0"/>
                  <a:ea typeface="ＭＳ Ｐ明朝" panose="02020600040205080304" pitchFamily="18" charset="-128"/>
                  <a:cs typeface="Arial" charset="0"/>
                </a:rPr>
                <a:t>伊良部島</a:t>
              </a:r>
              <a:endParaRPr kumimoji="0" lang="en-US" sz="900" i="0" dirty="0">
                <a:solidFill>
                  <a:srgbClr val="000000"/>
                </a:solidFill>
                <a:latin typeface="Georgia" panose="02040502050405020303" pitchFamily="18" charset="0"/>
                <a:ea typeface="ＭＳ Ｐ明朝" panose="02020600040205080304" pitchFamily="18" charset="-128"/>
                <a:cs typeface="Arial" charset="0"/>
              </a:endParaRPr>
            </a:p>
          </p:txBody>
        </p:sp>
        <p:sp>
          <p:nvSpPr>
            <p:cNvPr id="34" name="タイトル 1"/>
            <p:cNvSpPr txBox="1">
              <a:spLocks/>
            </p:cNvSpPr>
            <p:nvPr/>
          </p:nvSpPr>
          <p:spPr>
            <a:xfrm>
              <a:off x="15019302" y="318638"/>
              <a:ext cx="909570" cy="28084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lvl1pPr algn="l" defTabSz="914400" rtl="0" eaLnBrk="1" latinLnBrk="0" hangingPunct="1">
                <a:lnSpc>
                  <a:spcPct val="100000"/>
                </a:lnSpc>
                <a:spcBef>
                  <a:spcPct val="0"/>
                </a:spcBef>
                <a:buNone/>
                <a:defRPr kumimoji="1" lang="en-GB" altLang="ja-JP" sz="2400" b="1" i="1" kern="1200" baseline="0" noProof="0">
                  <a:solidFill>
                    <a:schemeClr val="tx1"/>
                  </a:solidFill>
                  <a:latin typeface="+mj-lt"/>
                  <a:ea typeface="+mj-ea"/>
                  <a:cs typeface="+mj-cs"/>
                </a:defRPr>
              </a:lvl1pPr>
            </a:lstStyle>
            <a:p>
              <a:pPr marL="177800" indent="-177800" fontAlgn="base" hangingPunct="0">
                <a:spcAft>
                  <a:spcPct val="0"/>
                </a:spcAft>
                <a:buSzPct val="100000"/>
              </a:pPr>
              <a:r>
                <a:rPr kumimoji="0" lang="ja-JP" altLang="en-US" sz="900" i="0" dirty="0">
                  <a:solidFill>
                    <a:srgbClr val="000000"/>
                  </a:solidFill>
                  <a:latin typeface="Georgia" panose="02040502050405020303" pitchFamily="18" charset="0"/>
                  <a:ea typeface="ＭＳ Ｐ明朝" panose="02020600040205080304" pitchFamily="18" charset="-128"/>
                  <a:cs typeface="Arial" charset="0"/>
                </a:rPr>
                <a:t>宮古島</a:t>
              </a:r>
              <a:endParaRPr kumimoji="0" lang="en-US" sz="900" i="0" dirty="0">
                <a:solidFill>
                  <a:srgbClr val="000000"/>
                </a:solidFill>
                <a:latin typeface="Georgia" panose="02040502050405020303" pitchFamily="18" charset="0"/>
                <a:ea typeface="ＭＳ Ｐ明朝" panose="02020600040205080304" pitchFamily="18" charset="-128"/>
                <a:cs typeface="Arial" charset="0"/>
              </a:endParaRPr>
            </a:p>
          </p:txBody>
        </p:sp>
      </p:grpSp>
      <p:sp>
        <p:nvSpPr>
          <p:cNvPr id="199" name="正方形/長方形 198"/>
          <p:cNvSpPr/>
          <p:nvPr/>
        </p:nvSpPr>
        <p:spPr>
          <a:xfrm>
            <a:off x="5468465" y="1671930"/>
            <a:ext cx="3317043" cy="338554"/>
          </a:xfrm>
          <a:prstGeom prst="rect">
            <a:avLst/>
          </a:prstGeom>
        </p:spPr>
        <p:txBody>
          <a:bodyPr wrap="square">
            <a:spAutoFit/>
          </a:bodyPr>
          <a:lstStyle/>
          <a:p>
            <a:r>
              <a:rPr lang="ja-JP" altLang="en-US" sz="1600" b="1" dirty="0">
                <a:solidFill>
                  <a:schemeClr val="accent5">
                    <a:lumMod val="75000"/>
                  </a:schemeClr>
                </a:solidFill>
                <a:latin typeface="Georgia" panose="02040502050405020303" pitchFamily="18" charset="0"/>
                <a:ea typeface="ＭＳ Ｐ明朝" panose="02020600040205080304" pitchFamily="18" charset="-128"/>
              </a:rPr>
              <a:t>宮古島と沖縄本島との距離</a:t>
            </a:r>
            <a:endParaRPr lang="en-GB" sz="1600" b="1" dirty="0">
              <a:solidFill>
                <a:schemeClr val="accent5">
                  <a:lumMod val="75000"/>
                </a:schemeClr>
              </a:solidFill>
              <a:latin typeface="Georgia" panose="02040502050405020303" pitchFamily="18" charset="0"/>
              <a:ea typeface="ＭＳ Ｐ明朝" panose="02020600040205080304" pitchFamily="18" charset="-128"/>
            </a:endParaRPr>
          </a:p>
        </p:txBody>
      </p:sp>
      <p:sp>
        <p:nvSpPr>
          <p:cNvPr id="200" name="正方形/長方形 199"/>
          <p:cNvSpPr/>
          <p:nvPr/>
        </p:nvSpPr>
        <p:spPr>
          <a:xfrm>
            <a:off x="5467474" y="3827937"/>
            <a:ext cx="3343418" cy="338554"/>
          </a:xfrm>
          <a:prstGeom prst="rect">
            <a:avLst/>
          </a:prstGeom>
        </p:spPr>
        <p:txBody>
          <a:bodyPr wrap="square">
            <a:spAutoFit/>
          </a:bodyPr>
          <a:lstStyle/>
          <a:p>
            <a:r>
              <a:rPr lang="ja-JP" altLang="en-US" sz="1600" b="1" dirty="0">
                <a:solidFill>
                  <a:schemeClr val="accent5">
                    <a:lumMod val="75000"/>
                  </a:schemeClr>
                </a:solidFill>
                <a:latin typeface="Georgia" panose="02040502050405020303" pitchFamily="18" charset="0"/>
                <a:ea typeface="ＭＳ Ｐ明朝" panose="02020600040205080304" pitchFamily="18" charset="-128"/>
              </a:rPr>
              <a:t>宮古島市の地形</a:t>
            </a:r>
            <a:endParaRPr lang="en-GB" sz="1600" b="1" dirty="0">
              <a:solidFill>
                <a:schemeClr val="accent5">
                  <a:lumMod val="75000"/>
                </a:schemeClr>
              </a:solidFill>
              <a:latin typeface="Georgia" panose="02040502050405020303" pitchFamily="18" charset="0"/>
              <a:ea typeface="ＭＳ Ｐ明朝" panose="02020600040205080304" pitchFamily="18" charset="-128"/>
            </a:endParaRPr>
          </a:p>
        </p:txBody>
      </p:sp>
      <p:sp>
        <p:nvSpPr>
          <p:cNvPr id="201" name="タイトル 1"/>
          <p:cNvSpPr txBox="1">
            <a:spLocks/>
          </p:cNvSpPr>
          <p:nvPr/>
        </p:nvSpPr>
        <p:spPr>
          <a:xfrm>
            <a:off x="7092280" y="2327394"/>
            <a:ext cx="909569" cy="25531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lvl1pPr algn="l" defTabSz="914400" rtl="0" eaLnBrk="1" latinLnBrk="0" hangingPunct="1">
              <a:lnSpc>
                <a:spcPct val="100000"/>
              </a:lnSpc>
              <a:spcBef>
                <a:spcPct val="0"/>
              </a:spcBef>
              <a:buNone/>
              <a:defRPr kumimoji="1" lang="en-GB" altLang="ja-JP" sz="2400" b="1" i="1" kern="1200" baseline="0" noProof="0">
                <a:solidFill>
                  <a:schemeClr val="tx1"/>
                </a:solidFill>
                <a:latin typeface="+mj-lt"/>
                <a:ea typeface="+mj-ea"/>
                <a:cs typeface="+mj-cs"/>
              </a:defRPr>
            </a:lvl1pPr>
          </a:lstStyle>
          <a:p>
            <a:pPr marL="177800" indent="-177800" fontAlgn="base" hangingPunct="0">
              <a:spcAft>
                <a:spcPct val="0"/>
              </a:spcAft>
              <a:buSzPct val="100000"/>
            </a:pPr>
            <a:r>
              <a:rPr kumimoji="0" lang="ja-JP" altLang="en-US" sz="900" i="0" dirty="0">
                <a:solidFill>
                  <a:srgbClr val="000000"/>
                </a:solidFill>
                <a:latin typeface="Georgia" panose="02040502050405020303" pitchFamily="18" charset="0"/>
                <a:ea typeface="ＭＳ Ｐ明朝" panose="02020600040205080304" pitchFamily="18" charset="-128"/>
                <a:cs typeface="Arial" charset="0"/>
              </a:rPr>
              <a:t>沖縄本島</a:t>
            </a:r>
            <a:endParaRPr kumimoji="0" lang="en-US" sz="900" i="0" dirty="0">
              <a:solidFill>
                <a:srgbClr val="000000"/>
              </a:solidFill>
              <a:latin typeface="Georgia" panose="02040502050405020303" pitchFamily="18" charset="0"/>
              <a:ea typeface="ＭＳ Ｐ明朝" panose="02020600040205080304" pitchFamily="18" charset="-128"/>
              <a:cs typeface="Arial" charset="0"/>
            </a:endParaRPr>
          </a:p>
        </p:txBody>
      </p:sp>
      <p:sp>
        <p:nvSpPr>
          <p:cNvPr id="227" name="正方形/長方形 226"/>
          <p:cNvSpPr/>
          <p:nvPr/>
        </p:nvSpPr>
        <p:spPr>
          <a:xfrm>
            <a:off x="4847442" y="6262755"/>
            <a:ext cx="883231" cy="200055"/>
          </a:xfrm>
          <a:prstGeom prst="rect">
            <a:avLst/>
          </a:prstGeom>
        </p:spPr>
        <p:txBody>
          <a:bodyPr wrap="square">
            <a:spAutoFit/>
          </a:bodyPr>
          <a:lstStyle/>
          <a:p>
            <a:r>
              <a:rPr lang="ja-JP" altLang="en-US" sz="700" dirty="0">
                <a:latin typeface="Georgia" panose="02040502050405020303" pitchFamily="18" charset="0"/>
                <a:ea typeface="ＭＳ Ｐ明朝" panose="02020600040205080304" pitchFamily="18" charset="-128"/>
              </a:rPr>
              <a:t>出所：沖縄県</a:t>
            </a:r>
          </a:p>
        </p:txBody>
      </p:sp>
      <p:sp>
        <p:nvSpPr>
          <p:cNvPr id="3" name="スライド番号プレースホルダー 2"/>
          <p:cNvSpPr>
            <a:spLocks noGrp="1"/>
          </p:cNvSpPr>
          <p:nvPr>
            <p:ph type="sldNum" sz="quarter" idx="4"/>
          </p:nvPr>
        </p:nvSpPr>
        <p:spPr>
          <a:xfrm>
            <a:off x="8532114" y="6659488"/>
            <a:ext cx="72136" cy="153888"/>
          </a:xfrm>
        </p:spPr>
        <p:txBody>
          <a:bodyPr/>
          <a:lstStyle/>
          <a:p>
            <a:fld id="{9EBD5762-3BDC-484D-9503-7EA6D5A9A8CE}" type="slidenum">
              <a:rPr lang="en-US" altLang="ja-JP" smtClean="0">
                <a:solidFill>
                  <a:srgbClr val="000000"/>
                </a:solidFill>
                <a:latin typeface="Georgia" panose="02040502050405020303" pitchFamily="18" charset="0"/>
                <a:ea typeface="ＭＳ Ｐ明朝" panose="02020600040205080304" pitchFamily="18" charset="-128"/>
              </a:rPr>
              <a:pPr/>
              <a:t>3</a:t>
            </a:fld>
            <a:endParaRPr lang="ja-JP" altLang="en-US">
              <a:solidFill>
                <a:srgbClr val="000000"/>
              </a:solidFill>
              <a:latin typeface="Georgia" panose="02040502050405020303" pitchFamily="18" charset="0"/>
              <a:ea typeface="ＭＳ Ｐ明朝" panose="02020600040205080304" pitchFamily="18" charset="-128"/>
            </a:endParaRPr>
          </a:p>
        </p:txBody>
      </p:sp>
      <p:sp>
        <p:nvSpPr>
          <p:cNvPr id="40" name="タイトル 1"/>
          <p:cNvSpPr txBox="1">
            <a:spLocks/>
          </p:cNvSpPr>
          <p:nvPr/>
        </p:nvSpPr>
        <p:spPr>
          <a:xfrm>
            <a:off x="3325128" y="4005064"/>
            <a:ext cx="454784" cy="149932"/>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lvl1pPr algn="l" defTabSz="914400" rtl="0" eaLnBrk="1" latinLnBrk="0" hangingPunct="1">
              <a:lnSpc>
                <a:spcPct val="100000"/>
              </a:lnSpc>
              <a:spcBef>
                <a:spcPct val="0"/>
              </a:spcBef>
              <a:buNone/>
              <a:defRPr kumimoji="1" lang="en-GB" altLang="ja-JP" sz="2400" b="1" i="1" kern="1200" baseline="0" noProof="0">
                <a:solidFill>
                  <a:schemeClr val="tx1"/>
                </a:solidFill>
                <a:latin typeface="+mj-lt"/>
                <a:ea typeface="+mj-ea"/>
                <a:cs typeface="+mj-cs"/>
              </a:defRPr>
            </a:lvl1pPr>
          </a:lstStyle>
          <a:p>
            <a:pPr marL="177800" indent="-177800" fontAlgn="base" hangingPunct="0">
              <a:spcAft>
                <a:spcPct val="0"/>
              </a:spcAft>
              <a:buSzPct val="100000"/>
            </a:pPr>
            <a:r>
              <a:rPr kumimoji="0" lang="ja-JP" altLang="en-US" sz="900" i="0" dirty="0">
                <a:solidFill>
                  <a:srgbClr val="000000"/>
                </a:solidFill>
                <a:latin typeface="Georgia" panose="02040502050405020303" pitchFamily="18" charset="0"/>
                <a:ea typeface="ＭＳ Ｐ明朝" panose="02020600040205080304" pitchFamily="18" charset="-128"/>
                <a:cs typeface="Arial" charset="0"/>
              </a:rPr>
              <a:t>沖縄県</a:t>
            </a:r>
            <a:endParaRPr kumimoji="0" lang="en-US" sz="900" i="0" dirty="0">
              <a:solidFill>
                <a:srgbClr val="000000"/>
              </a:solidFill>
              <a:latin typeface="Georgia" panose="02040502050405020303" pitchFamily="18" charset="0"/>
              <a:ea typeface="ＭＳ Ｐ明朝" panose="02020600040205080304" pitchFamily="18" charset="-128"/>
              <a:cs typeface="Arial" charset="0"/>
            </a:endParaRPr>
          </a:p>
        </p:txBody>
      </p:sp>
      <p:sp>
        <p:nvSpPr>
          <p:cNvPr id="52" name="Rectangle 31"/>
          <p:cNvSpPr>
            <a:spLocks noChangeArrowheads="1"/>
          </p:cNvSpPr>
          <p:nvPr/>
        </p:nvSpPr>
        <p:spPr bwMode="auto">
          <a:xfrm>
            <a:off x="416336" y="1558833"/>
            <a:ext cx="4788454" cy="534527"/>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a:latin typeface="Georgia" panose="02040502050405020303" pitchFamily="18" charset="0"/>
              <a:ea typeface="ＭＳ Ｐ明朝" panose="02020600040205080304" pitchFamily="18" charset="-128"/>
            </a:endParaRPr>
          </a:p>
        </p:txBody>
      </p:sp>
      <p:sp>
        <p:nvSpPr>
          <p:cNvPr id="166" name="正方形/長方形 165"/>
          <p:cNvSpPr/>
          <p:nvPr/>
        </p:nvSpPr>
        <p:spPr>
          <a:xfrm>
            <a:off x="407710" y="1727323"/>
            <a:ext cx="4965155" cy="338554"/>
          </a:xfrm>
          <a:prstGeom prst="rect">
            <a:avLst/>
          </a:prstGeom>
        </p:spPr>
        <p:txBody>
          <a:bodyPr wrap="square">
            <a:spAutoFit/>
          </a:bodyPr>
          <a:lstStyle/>
          <a:p>
            <a:r>
              <a:rPr lang="ja-JP" altLang="en-US" sz="1600" b="1" dirty="0">
                <a:solidFill>
                  <a:schemeClr val="accent5">
                    <a:lumMod val="75000"/>
                  </a:schemeClr>
                </a:solidFill>
                <a:latin typeface="Georgia" panose="02040502050405020303" pitchFamily="18" charset="0"/>
                <a:ea typeface="ＭＳ Ｐ明朝" panose="02020600040205080304" pitchFamily="18" charset="-128"/>
              </a:rPr>
              <a:t>沖縄県とアジア諸国との距離</a:t>
            </a:r>
            <a:endParaRPr lang="en-GB" sz="1600" b="1" dirty="0">
              <a:solidFill>
                <a:schemeClr val="accent5">
                  <a:lumMod val="75000"/>
                </a:schemeClr>
              </a:solidFill>
              <a:latin typeface="Georgia" panose="02040502050405020303" pitchFamily="18" charset="0"/>
              <a:ea typeface="ＭＳ Ｐ明朝" panose="02020600040205080304" pitchFamily="18" charset="-128"/>
            </a:endParaRPr>
          </a:p>
        </p:txBody>
      </p:sp>
      <p:sp>
        <p:nvSpPr>
          <p:cNvPr id="53" name="右矢印 52"/>
          <p:cNvSpPr/>
          <p:nvPr/>
        </p:nvSpPr>
        <p:spPr>
          <a:xfrm rot="8870204">
            <a:off x="6708575" y="3037357"/>
            <a:ext cx="710723" cy="61910"/>
          </a:xfrm>
          <a:prstGeom prst="rightArrow">
            <a:avLst/>
          </a:prstGeom>
          <a:solidFill>
            <a:schemeClr val="bg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Georgia" panose="02040502050405020303" pitchFamily="18" charset="0"/>
              <a:ea typeface="ＭＳ Ｐ明朝" panose="02020600040205080304" pitchFamily="18" charset="-128"/>
            </a:endParaRPr>
          </a:p>
        </p:txBody>
      </p:sp>
      <p:sp>
        <p:nvSpPr>
          <p:cNvPr id="54" name="タイトル 1"/>
          <p:cNvSpPr txBox="1">
            <a:spLocks/>
          </p:cNvSpPr>
          <p:nvPr/>
        </p:nvSpPr>
        <p:spPr>
          <a:xfrm>
            <a:off x="7141552" y="3068959"/>
            <a:ext cx="639286" cy="214729"/>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lvl1pPr algn="l" defTabSz="914400" rtl="0" eaLnBrk="1" latinLnBrk="0" hangingPunct="1">
              <a:lnSpc>
                <a:spcPct val="100000"/>
              </a:lnSpc>
              <a:spcBef>
                <a:spcPct val="0"/>
              </a:spcBef>
              <a:buNone/>
              <a:defRPr kumimoji="1" lang="en-GB" altLang="ja-JP" sz="2400" b="1" i="1" kern="1200" baseline="0" noProof="0">
                <a:solidFill>
                  <a:schemeClr val="tx1"/>
                </a:solidFill>
                <a:latin typeface="+mj-lt"/>
                <a:ea typeface="+mj-ea"/>
                <a:cs typeface="+mj-cs"/>
              </a:defRPr>
            </a:lvl1pPr>
          </a:lstStyle>
          <a:p>
            <a:pPr marL="177800" indent="-177800" fontAlgn="base" hangingPunct="0">
              <a:spcAft>
                <a:spcPct val="0"/>
              </a:spcAft>
              <a:buSzPct val="100000"/>
            </a:pPr>
            <a:r>
              <a:rPr kumimoji="0" lang="ja-JP" altLang="en-US" sz="900" b="0" i="0" dirty="0">
                <a:solidFill>
                  <a:srgbClr val="000000"/>
                </a:solidFill>
                <a:latin typeface="Georgia" panose="02040502050405020303" pitchFamily="18" charset="0"/>
                <a:ea typeface="ＭＳ Ｐ明朝" panose="02020600040205080304" pitchFamily="18" charset="-128"/>
                <a:cs typeface="Arial" charset="0"/>
              </a:rPr>
              <a:t>約</a:t>
            </a:r>
            <a:r>
              <a:rPr kumimoji="0" lang="en-US" altLang="ja-JP" sz="900" b="0" i="0" dirty="0">
                <a:solidFill>
                  <a:srgbClr val="000000"/>
                </a:solidFill>
                <a:latin typeface="Georgia" panose="02040502050405020303" pitchFamily="18" charset="0"/>
                <a:ea typeface="ＭＳ Ｐ明朝" panose="02020600040205080304" pitchFamily="18" charset="-128"/>
                <a:cs typeface="Arial" charset="0"/>
              </a:rPr>
              <a:t>300km</a:t>
            </a:r>
            <a:endParaRPr kumimoji="0" lang="en-US" sz="900" b="0" i="0" dirty="0">
              <a:solidFill>
                <a:srgbClr val="000000"/>
              </a:solidFill>
              <a:latin typeface="Georgia" panose="02040502050405020303" pitchFamily="18" charset="0"/>
              <a:ea typeface="ＭＳ Ｐ明朝" panose="02020600040205080304" pitchFamily="18" charset="-128"/>
              <a:cs typeface="Arial" charset="0"/>
            </a:endParaRPr>
          </a:p>
        </p:txBody>
      </p:sp>
      <p:sp>
        <p:nvSpPr>
          <p:cNvPr id="2" name="正方形/長方形 1"/>
          <p:cNvSpPr/>
          <p:nvPr/>
        </p:nvSpPr>
        <p:spPr>
          <a:xfrm>
            <a:off x="467544" y="2091320"/>
            <a:ext cx="4965155" cy="4145992"/>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Georgia" panose="02040502050405020303" pitchFamily="18" charset="0"/>
              <a:ea typeface="ＭＳ Ｐ明朝" panose="02020600040205080304" pitchFamily="18" charset="-128"/>
            </a:endParaRPr>
          </a:p>
        </p:txBody>
      </p:sp>
      <p:sp>
        <p:nvSpPr>
          <p:cNvPr id="22" name="タイトル 1"/>
          <p:cNvSpPr txBox="1">
            <a:spLocks/>
          </p:cNvSpPr>
          <p:nvPr/>
        </p:nvSpPr>
        <p:spPr>
          <a:xfrm>
            <a:off x="539948" y="719992"/>
            <a:ext cx="8064500" cy="908808"/>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lvl1pPr algn="l" defTabSz="914400" rtl="0" eaLnBrk="1" latinLnBrk="0" hangingPunct="1">
              <a:lnSpc>
                <a:spcPct val="100000"/>
              </a:lnSpc>
              <a:spcBef>
                <a:spcPct val="0"/>
              </a:spcBef>
              <a:buNone/>
              <a:defRPr kumimoji="1" lang="en-GB" altLang="ja-JP" sz="2400" b="1" i="1" kern="1200" baseline="0" noProof="0">
                <a:solidFill>
                  <a:schemeClr val="tx1"/>
                </a:solidFill>
                <a:latin typeface="+mj-lt"/>
                <a:ea typeface="+mj-ea"/>
                <a:cs typeface="+mj-cs"/>
              </a:defRPr>
            </a:lvl1pPr>
          </a:lstStyle>
          <a:p>
            <a:pPr marL="285750" indent="-285750" fontAlgn="base" hangingPunct="0">
              <a:lnSpc>
                <a:spcPct val="150000"/>
              </a:lnSpc>
              <a:spcAft>
                <a:spcPct val="0"/>
              </a:spcAft>
              <a:buSzPct val="100000"/>
              <a:buFont typeface="Arial" panose="020B0604020202020204" pitchFamily="34" charset="0"/>
              <a:buChar char="•"/>
            </a:pPr>
            <a:r>
              <a:rPr kumimoji="0" lang="ja-JP" altLang="en-US" sz="1400" b="0" i="0" dirty="0">
                <a:solidFill>
                  <a:srgbClr val="000000"/>
                </a:solidFill>
                <a:latin typeface="Georgia" panose="02040502050405020303" pitchFamily="18" charset="0"/>
                <a:ea typeface="ＭＳ Ｐ明朝" panose="02020600040205080304" pitchFamily="18" charset="-128"/>
                <a:cs typeface="Arial" charset="0"/>
              </a:rPr>
              <a:t>宮古島市は沖縄本島から南西に約</a:t>
            </a:r>
            <a:r>
              <a:rPr kumimoji="0" lang="en-US" sz="1400" b="0" i="0" dirty="0">
                <a:solidFill>
                  <a:srgbClr val="000000"/>
                </a:solidFill>
                <a:latin typeface="Georgia" panose="02040502050405020303" pitchFamily="18" charset="0"/>
                <a:ea typeface="ＭＳ Ｐ明朝" panose="02020600040205080304" pitchFamily="18" charset="-128"/>
                <a:cs typeface="Arial" charset="0"/>
              </a:rPr>
              <a:t>300km</a:t>
            </a:r>
            <a:r>
              <a:rPr kumimoji="0" lang="ja-JP" altLang="en-US" sz="1400" b="0" i="0" dirty="0" err="1">
                <a:solidFill>
                  <a:srgbClr val="000000"/>
                </a:solidFill>
                <a:latin typeface="Georgia" panose="02040502050405020303" pitchFamily="18" charset="0"/>
                <a:ea typeface="ＭＳ Ｐ明朝" panose="02020600040205080304" pitchFamily="18" charset="-128"/>
                <a:cs typeface="Arial" charset="0"/>
              </a:rPr>
              <a:t>、</a:t>
            </a:r>
            <a:r>
              <a:rPr kumimoji="0" lang="ja-JP" altLang="en-US" sz="1400" b="0" i="0" dirty="0">
                <a:solidFill>
                  <a:srgbClr val="000000"/>
                </a:solidFill>
                <a:latin typeface="Georgia" panose="02040502050405020303" pitchFamily="18" charset="0"/>
                <a:ea typeface="ＭＳ Ｐ明朝" panose="02020600040205080304" pitchFamily="18" charset="-128"/>
                <a:cs typeface="Arial" charset="0"/>
              </a:rPr>
              <a:t>東京から約</a:t>
            </a:r>
            <a:r>
              <a:rPr kumimoji="0" lang="en-US" sz="1400" b="0" i="0" dirty="0">
                <a:solidFill>
                  <a:srgbClr val="000000"/>
                </a:solidFill>
                <a:latin typeface="Georgia" panose="02040502050405020303" pitchFamily="18" charset="0"/>
                <a:ea typeface="ＭＳ Ｐ明朝" panose="02020600040205080304" pitchFamily="18" charset="-128"/>
                <a:cs typeface="Arial" charset="0"/>
              </a:rPr>
              <a:t>2000km</a:t>
            </a:r>
            <a:r>
              <a:rPr kumimoji="0" lang="ja-JP" altLang="en-US" sz="1400" b="0" i="0" dirty="0">
                <a:solidFill>
                  <a:srgbClr val="000000"/>
                </a:solidFill>
                <a:latin typeface="Georgia" panose="02040502050405020303" pitchFamily="18" charset="0"/>
                <a:ea typeface="ＭＳ Ｐ明朝" panose="02020600040205080304" pitchFamily="18" charset="-128"/>
                <a:cs typeface="Arial" charset="0"/>
              </a:rPr>
              <a:t>に位置し、大小</a:t>
            </a:r>
            <a:r>
              <a:rPr kumimoji="0" lang="en-US" sz="1400" b="0" i="0" dirty="0">
                <a:solidFill>
                  <a:srgbClr val="000000"/>
                </a:solidFill>
                <a:latin typeface="Georgia" panose="02040502050405020303" pitchFamily="18" charset="0"/>
                <a:ea typeface="ＭＳ Ｐ明朝" panose="02020600040205080304" pitchFamily="18" charset="-128"/>
                <a:cs typeface="Arial" charset="0"/>
              </a:rPr>
              <a:t>6</a:t>
            </a:r>
            <a:r>
              <a:rPr kumimoji="0" lang="ja-JP" altLang="en-US" sz="1400" b="0" i="0" dirty="0" err="1">
                <a:solidFill>
                  <a:srgbClr val="000000"/>
                </a:solidFill>
                <a:latin typeface="Georgia" panose="02040502050405020303" pitchFamily="18" charset="0"/>
                <a:ea typeface="ＭＳ Ｐ明朝" panose="02020600040205080304" pitchFamily="18" charset="-128"/>
                <a:cs typeface="Arial" charset="0"/>
              </a:rPr>
              <a:t>つの</a:t>
            </a:r>
            <a:r>
              <a:rPr kumimoji="0" lang="ja-JP" altLang="en-US" sz="1400" b="0" i="0" dirty="0">
                <a:solidFill>
                  <a:srgbClr val="000000"/>
                </a:solidFill>
                <a:latin typeface="Georgia" panose="02040502050405020303" pitchFamily="18" charset="0"/>
                <a:ea typeface="ＭＳ Ｐ明朝" panose="02020600040205080304" pitchFamily="18" charset="-128"/>
                <a:cs typeface="Arial" charset="0"/>
              </a:rPr>
              <a:t>島（宮古島、池間島、来間島、伊良部島、下地島、大神島）で構成されています。</a:t>
            </a:r>
            <a:endParaRPr kumimoji="0" lang="en-US" altLang="ja-JP" sz="1400" b="0" i="0" dirty="0">
              <a:solidFill>
                <a:srgbClr val="000000"/>
              </a:solidFill>
              <a:latin typeface="Georgia" panose="02040502050405020303" pitchFamily="18" charset="0"/>
              <a:ea typeface="ＭＳ Ｐ明朝" panose="02020600040205080304" pitchFamily="18" charset="-128"/>
              <a:cs typeface="Arial" charset="0"/>
            </a:endParaRPr>
          </a:p>
          <a:p>
            <a:pPr marL="285750" indent="-285750" fontAlgn="base" hangingPunct="0">
              <a:lnSpc>
                <a:spcPct val="150000"/>
              </a:lnSpc>
              <a:spcAft>
                <a:spcPct val="0"/>
              </a:spcAft>
              <a:buSzPct val="100000"/>
              <a:buFont typeface="Arial" panose="020B0604020202020204" pitchFamily="34" charset="0"/>
              <a:buChar char="•"/>
            </a:pPr>
            <a:r>
              <a:rPr kumimoji="0" lang="ja-JP" altLang="en-US" sz="1400" b="0" i="0" dirty="0">
                <a:solidFill>
                  <a:srgbClr val="000000"/>
                </a:solidFill>
                <a:latin typeface="Georgia" panose="02040502050405020303" pitchFamily="18" charset="0"/>
                <a:ea typeface="ＭＳ Ｐ明朝" panose="02020600040205080304" pitchFamily="18" charset="-128"/>
                <a:cs typeface="Arial" charset="0"/>
              </a:rPr>
              <a:t>下地島は、宮古島の西約</a:t>
            </a:r>
            <a:r>
              <a:rPr kumimoji="0" lang="en-US" sz="1400" b="0" i="0" dirty="0">
                <a:solidFill>
                  <a:srgbClr val="000000"/>
                </a:solidFill>
                <a:latin typeface="Georgia" panose="02040502050405020303" pitchFamily="18" charset="0"/>
                <a:ea typeface="ＭＳ Ｐ明朝" panose="02020600040205080304" pitchFamily="18" charset="-128"/>
                <a:cs typeface="Arial" charset="0"/>
              </a:rPr>
              <a:t>7km</a:t>
            </a:r>
            <a:r>
              <a:rPr kumimoji="0" lang="ja-JP" altLang="en-US" sz="1400" b="0" i="0" dirty="0">
                <a:solidFill>
                  <a:srgbClr val="000000"/>
                </a:solidFill>
                <a:latin typeface="Georgia" panose="02040502050405020303" pitchFamily="18" charset="0"/>
                <a:ea typeface="ＭＳ Ｐ明朝" panose="02020600040205080304" pitchFamily="18" charset="-128"/>
                <a:cs typeface="Arial" charset="0"/>
              </a:rPr>
              <a:t>に伊良部島と隣り合わせで位置しています。　</a:t>
            </a:r>
            <a:r>
              <a:rPr kumimoji="0" lang="en-US" altLang="ja-JP" sz="1400" i="0" u="sng" dirty="0">
                <a:solidFill>
                  <a:srgbClr val="000000"/>
                </a:solidFill>
                <a:latin typeface="Georgia" panose="02040502050405020303" pitchFamily="18" charset="0"/>
                <a:ea typeface="ＭＳ Ｐ明朝" panose="02020600040205080304" pitchFamily="18" charset="-128"/>
                <a:cs typeface="Arial" charset="0"/>
              </a:rPr>
              <a:t>※</a:t>
            </a:r>
            <a:r>
              <a:rPr kumimoji="0" lang="ja-JP" altLang="en-US" sz="1400" i="0" u="sng" dirty="0">
                <a:solidFill>
                  <a:srgbClr val="000000"/>
                </a:solidFill>
                <a:latin typeface="Georgia" panose="02040502050405020303" pitchFamily="18" charset="0"/>
                <a:ea typeface="ＭＳ Ｐ明朝" panose="02020600040205080304" pitchFamily="18" charset="-128"/>
                <a:cs typeface="Arial" charset="0"/>
              </a:rPr>
              <a:t>橋にて陸続き</a:t>
            </a:r>
            <a:endParaRPr kumimoji="0" lang="en-US" sz="1400" i="0" u="sng" dirty="0">
              <a:solidFill>
                <a:srgbClr val="000000"/>
              </a:solidFill>
              <a:latin typeface="Georgia" panose="02040502050405020303" pitchFamily="18" charset="0"/>
              <a:ea typeface="ＭＳ Ｐ明朝" panose="02020600040205080304" pitchFamily="18" charset="-128"/>
              <a:cs typeface="Arial" charset="0"/>
            </a:endParaRPr>
          </a:p>
        </p:txBody>
      </p:sp>
      <p:sp>
        <p:nvSpPr>
          <p:cNvPr id="7" name="円弧 6">
            <a:extLst>
              <a:ext uri="{FF2B5EF4-FFF2-40B4-BE49-F238E27FC236}">
                <a16:creationId xmlns:a16="http://schemas.microsoft.com/office/drawing/2014/main" id="{0F8DDA4B-6C75-E2D3-630C-E8478C7CFFAB}"/>
              </a:ext>
            </a:extLst>
          </p:cNvPr>
          <p:cNvSpPr/>
          <p:nvPr/>
        </p:nvSpPr>
        <p:spPr>
          <a:xfrm rot="9700952">
            <a:off x="6878535" y="4699084"/>
            <a:ext cx="295737" cy="293541"/>
          </a:xfrm>
          <a:prstGeom prst="arc">
            <a:avLst/>
          </a:prstGeom>
          <a:ln w="222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Tree>
    <p:extLst>
      <p:ext uri="{BB962C8B-B14F-4D97-AF65-F5344CB8AC3E}">
        <p14:creationId xmlns:p14="http://schemas.microsoft.com/office/powerpoint/2010/main" val="41056477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タイトル 1"/>
          <p:cNvSpPr txBox="1">
            <a:spLocks/>
          </p:cNvSpPr>
          <p:nvPr/>
        </p:nvSpPr>
        <p:spPr>
          <a:xfrm>
            <a:off x="395536" y="235585"/>
            <a:ext cx="8064500" cy="45711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lvl1pPr algn="l" defTabSz="914400" rtl="0" eaLnBrk="1" latinLnBrk="0" hangingPunct="1">
              <a:lnSpc>
                <a:spcPct val="100000"/>
              </a:lnSpc>
              <a:spcBef>
                <a:spcPct val="0"/>
              </a:spcBef>
              <a:buNone/>
              <a:defRPr kumimoji="1" lang="en-GB" altLang="ja-JP" sz="2400" b="1" i="1" kern="1200" baseline="0" noProof="0">
                <a:solidFill>
                  <a:schemeClr val="tx1"/>
                </a:solidFill>
                <a:latin typeface="+mj-lt"/>
                <a:ea typeface="+mj-ea"/>
                <a:cs typeface="+mj-cs"/>
              </a:defRPr>
            </a:lvl1pPr>
          </a:lstStyle>
          <a:p>
            <a:pPr>
              <a:defRPr/>
            </a:pPr>
            <a:r>
              <a:rPr lang="ja-JP" altLang="en-US" sz="2000" dirty="0">
                <a:solidFill>
                  <a:schemeClr val="tx2">
                    <a:lumMod val="75000"/>
                  </a:schemeClr>
                </a:solidFill>
                <a:latin typeface="HGP明朝E"/>
                <a:ea typeface="HGP明朝E"/>
              </a:rPr>
              <a:t>事業提案募集の対象範囲について 　</a:t>
            </a:r>
            <a:r>
              <a:rPr lang="en-US" altLang="ja-JP" sz="2000" dirty="0">
                <a:solidFill>
                  <a:schemeClr val="tx2">
                    <a:lumMod val="75000"/>
                  </a:schemeClr>
                </a:solidFill>
                <a:latin typeface="HGP明朝E"/>
                <a:ea typeface="HGP明朝E"/>
              </a:rPr>
              <a:t>※</a:t>
            </a:r>
            <a:r>
              <a:rPr lang="ja-JP" altLang="en-US" sz="2000" dirty="0">
                <a:solidFill>
                  <a:schemeClr val="tx2">
                    <a:lumMod val="75000"/>
                  </a:schemeClr>
                </a:solidFill>
                <a:latin typeface="HGP明朝E"/>
                <a:ea typeface="HGP明朝E"/>
              </a:rPr>
              <a:t>想定</a:t>
            </a:r>
          </a:p>
        </p:txBody>
      </p:sp>
      <p:sp>
        <p:nvSpPr>
          <p:cNvPr id="2" name="スライド番号プレースホルダー 1"/>
          <p:cNvSpPr>
            <a:spLocks noGrp="1"/>
          </p:cNvSpPr>
          <p:nvPr>
            <p:ph type="sldNum" sz="quarter" idx="4"/>
          </p:nvPr>
        </p:nvSpPr>
        <p:spPr>
          <a:xfrm>
            <a:off x="8383036" y="6602512"/>
            <a:ext cx="221214" cy="153888"/>
          </a:xfrm>
        </p:spPr>
        <p:txBody>
          <a:bodyPr/>
          <a:lstStyle/>
          <a:p>
            <a:fld id="{9EBD5762-3BDC-484D-9503-7EA6D5A9A8CE}" type="slidenum">
              <a:rPr lang="en-US" altLang="ja-JP" smtClean="0">
                <a:solidFill>
                  <a:srgbClr val="000000"/>
                </a:solidFill>
              </a:rPr>
              <a:pPr/>
              <a:t>4</a:t>
            </a:fld>
            <a:endParaRPr lang="ja-JP" altLang="en-US">
              <a:solidFill>
                <a:srgbClr val="000000"/>
              </a:solidFill>
            </a:endParaRPr>
          </a:p>
        </p:txBody>
      </p:sp>
      <p:sp>
        <p:nvSpPr>
          <p:cNvPr id="4" name="正方形/長方形 3"/>
          <p:cNvSpPr/>
          <p:nvPr/>
        </p:nvSpPr>
        <p:spPr>
          <a:xfrm>
            <a:off x="1350380" y="5794693"/>
            <a:ext cx="738770" cy="822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0" name="図 9" descr="マップ&#10;&#10;自動的に生成された説明">
            <a:extLst>
              <a:ext uri="{FF2B5EF4-FFF2-40B4-BE49-F238E27FC236}">
                <a16:creationId xmlns:a16="http://schemas.microsoft.com/office/drawing/2014/main" id="{6A71ECAB-43EC-982D-437E-6825DC7F3DBD}"/>
              </a:ext>
            </a:extLst>
          </p:cNvPr>
          <p:cNvPicPr>
            <a:picLocks noChangeAspect="1"/>
          </p:cNvPicPr>
          <p:nvPr/>
        </p:nvPicPr>
        <p:blipFill>
          <a:blip r:embed="rId3"/>
          <a:stretch>
            <a:fillRect/>
          </a:stretch>
        </p:blipFill>
        <p:spPr>
          <a:xfrm>
            <a:off x="992429" y="727398"/>
            <a:ext cx="6870713" cy="6029002"/>
          </a:xfrm>
          <a:prstGeom prst="rect">
            <a:avLst/>
          </a:prstGeom>
        </p:spPr>
      </p:pic>
      <p:sp>
        <p:nvSpPr>
          <p:cNvPr id="3" name="テキスト ボックス 2">
            <a:extLst>
              <a:ext uri="{FF2B5EF4-FFF2-40B4-BE49-F238E27FC236}">
                <a16:creationId xmlns:a16="http://schemas.microsoft.com/office/drawing/2014/main" id="{30BC5301-D227-5BB9-8AB6-F75EE7C49792}"/>
              </a:ext>
            </a:extLst>
          </p:cNvPr>
          <p:cNvSpPr txBox="1"/>
          <p:nvPr/>
        </p:nvSpPr>
        <p:spPr>
          <a:xfrm>
            <a:off x="4572000" y="1579028"/>
            <a:ext cx="4450080" cy="1292662"/>
          </a:xfrm>
          <a:prstGeom prst="rect">
            <a:avLst/>
          </a:prstGeom>
          <a:solidFill>
            <a:srgbClr val="FFFF00"/>
          </a:solidFill>
          <a:ln w="19050" algn="ctr">
            <a:solidFill>
              <a:srgbClr val="3366FF"/>
            </a:solidFill>
            <a:miter lim="800000"/>
            <a:headEnd/>
            <a:tailEnd/>
          </a:ln>
          <a:effectLst>
            <a:outerShdw blurRad="50800" dist="50800" dir="5400000" algn="ctr" rotWithShape="0">
              <a:schemeClr val="tx1"/>
            </a:outerShdw>
          </a:effectLst>
        </p:spPr>
        <p:txBody>
          <a:bodyPr vert="horz" wrap="square" lIns="0" tIns="0" rIns="0" bIns="0" numCol="1" rtlCol="0" anchor="t" anchorCtr="0" compatLnSpc="1">
            <a:prstTxWarp prst="textNoShape">
              <a:avLst/>
            </a:prstTxWarp>
            <a:spAutoFit/>
          </a:bodyPr>
          <a:lstStyle/>
          <a:p>
            <a:pPr marL="177800" indent="-177800" fontAlgn="base" hangingPunct="0">
              <a:spcAft>
                <a:spcPct val="0"/>
              </a:spcAft>
              <a:buSzPct val="100000"/>
            </a:pPr>
            <a:r>
              <a:rPr kumimoji="0" lang="ja-JP" altLang="en-US" sz="1200" b="0" i="0" dirty="0">
                <a:solidFill>
                  <a:srgbClr val="000000"/>
                </a:solidFill>
                <a:latin typeface="HGP明朝E"/>
                <a:ea typeface="HGP明朝E"/>
                <a:cs typeface="Arial" charset="0"/>
              </a:rPr>
              <a:t>①　</a:t>
            </a:r>
            <a:r>
              <a:rPr kumimoji="0" lang="ja-JP" altLang="en-US" sz="1200" dirty="0">
                <a:solidFill>
                  <a:srgbClr val="000000"/>
                </a:solidFill>
                <a:latin typeface="HGP明朝E"/>
                <a:ea typeface="HGP明朝E"/>
                <a:cs typeface="Arial" charset="0"/>
              </a:rPr>
              <a:t>青い破線は開発が可能な区域（普通財産）・・・賃貸借契約</a:t>
            </a:r>
            <a:endParaRPr kumimoji="0" lang="en-US" altLang="ja-JP" sz="1200" dirty="0">
              <a:solidFill>
                <a:srgbClr val="000000"/>
              </a:solidFill>
              <a:latin typeface="HGP明朝E"/>
              <a:ea typeface="HGP明朝E"/>
              <a:cs typeface="Arial" charset="0"/>
            </a:endParaRPr>
          </a:p>
          <a:p>
            <a:pPr marL="177800" indent="-177800" fontAlgn="base" hangingPunct="0">
              <a:spcAft>
                <a:spcPct val="0"/>
              </a:spcAft>
              <a:buSzPct val="100000"/>
            </a:pPr>
            <a:r>
              <a:rPr kumimoji="0" lang="ja-JP" altLang="en-US" sz="1200" b="0" i="0" dirty="0">
                <a:solidFill>
                  <a:srgbClr val="000000"/>
                </a:solidFill>
                <a:latin typeface="HGP明朝E"/>
                <a:ea typeface="HGP明朝E"/>
                <a:cs typeface="Arial" charset="0"/>
              </a:rPr>
              <a:t>　（畑として耕作されており、</a:t>
            </a:r>
            <a:r>
              <a:rPr kumimoji="0" lang="ja-JP" altLang="en-US" sz="1200" dirty="0">
                <a:solidFill>
                  <a:srgbClr val="000000"/>
                </a:solidFill>
                <a:latin typeface="HGP明朝E"/>
                <a:ea typeface="HGP明朝E"/>
                <a:cs typeface="Arial" charset="0"/>
              </a:rPr>
              <a:t> 耕作者は耕作の継続を望まれている）</a:t>
            </a:r>
            <a:endParaRPr kumimoji="0" lang="en-US" altLang="ja-JP" sz="1200" dirty="0">
              <a:solidFill>
                <a:srgbClr val="000000"/>
              </a:solidFill>
              <a:latin typeface="HGP明朝E"/>
              <a:ea typeface="HGP明朝E"/>
              <a:cs typeface="Arial" charset="0"/>
            </a:endParaRPr>
          </a:p>
          <a:p>
            <a:pPr marL="177800" indent="-177800" fontAlgn="base" hangingPunct="0">
              <a:spcAft>
                <a:spcPct val="0"/>
              </a:spcAft>
              <a:buSzPct val="100000"/>
            </a:pPr>
            <a:r>
              <a:rPr kumimoji="0" lang="ja-JP" altLang="en-US" sz="1200" dirty="0">
                <a:solidFill>
                  <a:srgbClr val="000000"/>
                </a:solidFill>
                <a:latin typeface="HGP明朝E"/>
                <a:ea typeface="HGP明朝E"/>
                <a:cs typeface="Arial" charset="0"/>
              </a:rPr>
              <a:t>②　水色破線も開発が可能な区域（行政財産）・・・使用許可</a:t>
            </a:r>
            <a:endParaRPr kumimoji="0" lang="en-US" altLang="ja-JP" sz="1200" dirty="0">
              <a:solidFill>
                <a:srgbClr val="000000"/>
              </a:solidFill>
              <a:latin typeface="HGP明朝E"/>
              <a:ea typeface="HGP明朝E"/>
              <a:cs typeface="Arial" charset="0"/>
            </a:endParaRPr>
          </a:p>
          <a:p>
            <a:pPr marL="177800" indent="-177800" fontAlgn="base" hangingPunct="0">
              <a:spcAft>
                <a:spcPct val="0"/>
              </a:spcAft>
              <a:buSzPct val="100000"/>
            </a:pPr>
            <a:r>
              <a:rPr kumimoji="0" lang="ja-JP" altLang="en-US" sz="1200" dirty="0">
                <a:solidFill>
                  <a:srgbClr val="000000"/>
                </a:solidFill>
                <a:latin typeface="HGP明朝E"/>
                <a:ea typeface="HGP明朝E"/>
                <a:cs typeface="Arial" charset="0"/>
              </a:rPr>
              <a:t>③　水色破線内は空港告示区域となっている</a:t>
            </a:r>
            <a:endParaRPr kumimoji="0" lang="en-US" altLang="ja-JP" sz="1200" dirty="0">
              <a:solidFill>
                <a:srgbClr val="000000"/>
              </a:solidFill>
              <a:latin typeface="HGP明朝E"/>
              <a:ea typeface="HGP明朝E"/>
              <a:cs typeface="Arial" charset="0"/>
            </a:endParaRPr>
          </a:p>
          <a:p>
            <a:pPr marL="177800" indent="-177800" fontAlgn="base" hangingPunct="0">
              <a:spcAft>
                <a:spcPct val="0"/>
              </a:spcAft>
              <a:buSzPct val="100000"/>
            </a:pPr>
            <a:r>
              <a:rPr kumimoji="0" lang="ja-JP" altLang="en-US" sz="1200" b="0" i="0" dirty="0">
                <a:solidFill>
                  <a:srgbClr val="000000"/>
                </a:solidFill>
                <a:latin typeface="HGP明朝E"/>
                <a:ea typeface="HGP明朝E"/>
                <a:cs typeface="Arial" charset="0"/>
              </a:rPr>
              <a:t>④　未買収用地周辺は開発が出来ない区域と考えている。</a:t>
            </a:r>
            <a:endParaRPr kumimoji="0" lang="en-US" altLang="ja-JP" sz="1200" dirty="0">
              <a:solidFill>
                <a:srgbClr val="000000"/>
              </a:solidFill>
              <a:latin typeface="HGP明朝E"/>
              <a:ea typeface="HGP明朝E"/>
              <a:cs typeface="Arial" charset="0"/>
            </a:endParaRPr>
          </a:p>
          <a:p>
            <a:pPr marL="177800" indent="-177800" fontAlgn="base" hangingPunct="0">
              <a:spcAft>
                <a:spcPct val="0"/>
              </a:spcAft>
              <a:buSzPct val="100000"/>
            </a:pPr>
            <a:endParaRPr kumimoji="0" lang="en-US" altLang="ja-JP" sz="1200" b="0" i="0" dirty="0">
              <a:solidFill>
                <a:srgbClr val="000000"/>
              </a:solidFill>
              <a:latin typeface="HGP明朝E"/>
              <a:ea typeface="HGP明朝E"/>
              <a:cs typeface="Arial" charset="0"/>
            </a:endParaRPr>
          </a:p>
          <a:p>
            <a:pPr marL="177800" indent="-177800" fontAlgn="base" hangingPunct="0">
              <a:spcAft>
                <a:spcPct val="0"/>
              </a:spcAft>
              <a:buSzPct val="100000"/>
            </a:pPr>
            <a:endParaRPr kumimoji="0" lang="ja-JP" altLang="en-US" sz="1200" b="0" i="0" dirty="0">
              <a:solidFill>
                <a:srgbClr val="000000"/>
              </a:solidFill>
              <a:latin typeface="HGP明朝E"/>
              <a:ea typeface="HGP明朝E"/>
              <a:cs typeface="Arial" charset="0"/>
            </a:endParaRPr>
          </a:p>
        </p:txBody>
      </p:sp>
      <p:pic>
        <p:nvPicPr>
          <p:cNvPr id="8" name="図 7" descr="テキスト&#10;&#10;自動的に生成された説明">
            <a:extLst>
              <a:ext uri="{FF2B5EF4-FFF2-40B4-BE49-F238E27FC236}">
                <a16:creationId xmlns:a16="http://schemas.microsoft.com/office/drawing/2014/main" id="{8370FBD5-037D-F1D6-4CDD-85E7450797E1}"/>
              </a:ext>
            </a:extLst>
          </p:cNvPr>
          <p:cNvPicPr>
            <a:picLocks noChangeAspect="1"/>
          </p:cNvPicPr>
          <p:nvPr/>
        </p:nvPicPr>
        <p:blipFill>
          <a:blip r:embed="rId4"/>
          <a:stretch>
            <a:fillRect/>
          </a:stretch>
        </p:blipFill>
        <p:spPr>
          <a:xfrm>
            <a:off x="7171954" y="2591590"/>
            <a:ext cx="1935266" cy="1649483"/>
          </a:xfrm>
          <a:prstGeom prst="rect">
            <a:avLst/>
          </a:prstGeom>
        </p:spPr>
      </p:pic>
    </p:spTree>
    <p:extLst>
      <p:ext uri="{BB962C8B-B14F-4D97-AF65-F5344CB8AC3E}">
        <p14:creationId xmlns:p14="http://schemas.microsoft.com/office/powerpoint/2010/main" val="19184962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タイトル 1"/>
          <p:cNvSpPr txBox="1">
            <a:spLocks/>
          </p:cNvSpPr>
          <p:nvPr/>
        </p:nvSpPr>
        <p:spPr>
          <a:xfrm>
            <a:off x="395536" y="235585"/>
            <a:ext cx="8064500" cy="45711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lvl1pPr algn="l" defTabSz="914400" rtl="0" eaLnBrk="1" latinLnBrk="0" hangingPunct="1">
              <a:lnSpc>
                <a:spcPct val="100000"/>
              </a:lnSpc>
              <a:spcBef>
                <a:spcPct val="0"/>
              </a:spcBef>
              <a:buNone/>
              <a:defRPr kumimoji="1" lang="en-GB" altLang="ja-JP" sz="2400" b="1" i="1" kern="1200" baseline="0" noProof="0">
                <a:solidFill>
                  <a:schemeClr val="tx1"/>
                </a:solidFill>
                <a:latin typeface="+mj-lt"/>
                <a:ea typeface="+mj-ea"/>
                <a:cs typeface="+mj-cs"/>
              </a:defRPr>
            </a:lvl1pPr>
          </a:lstStyle>
          <a:p>
            <a:pPr>
              <a:defRPr/>
            </a:pPr>
            <a:r>
              <a:rPr lang="ja-JP" altLang="en-US" sz="2000" dirty="0">
                <a:solidFill>
                  <a:schemeClr val="tx2">
                    <a:lumMod val="75000"/>
                  </a:schemeClr>
                </a:solidFill>
                <a:latin typeface="HGP明朝E"/>
                <a:ea typeface="HGP明朝E"/>
              </a:rPr>
              <a:t>空港施設に関する詳細　　</a:t>
            </a:r>
            <a:r>
              <a:rPr lang="ja-JP" altLang="en-US" sz="1800" dirty="0">
                <a:solidFill>
                  <a:srgbClr val="1F497D">
                    <a:lumMod val="75000"/>
                  </a:srgbClr>
                </a:solidFill>
                <a:latin typeface="HGP明朝E"/>
                <a:ea typeface="HGP明朝E"/>
              </a:rPr>
              <a:t>～使用料等</a:t>
            </a:r>
            <a:endParaRPr lang="ja-JP" altLang="en-US" sz="1800" dirty="0">
              <a:solidFill>
                <a:schemeClr val="tx2">
                  <a:lumMod val="75000"/>
                </a:schemeClr>
              </a:solidFill>
              <a:latin typeface="HGP明朝E"/>
              <a:ea typeface="HGP明朝E"/>
            </a:endParaRPr>
          </a:p>
        </p:txBody>
      </p:sp>
      <p:sp>
        <p:nvSpPr>
          <p:cNvPr id="16" name="スライド番号プレースホルダー 1"/>
          <p:cNvSpPr txBox="1">
            <a:spLocks/>
          </p:cNvSpPr>
          <p:nvPr/>
        </p:nvSpPr>
        <p:spPr>
          <a:xfrm>
            <a:off x="8725936" y="6557888"/>
            <a:ext cx="221214" cy="153888"/>
          </a:xfrm>
          <a:prstGeom prst="rect">
            <a:avLst/>
          </a:prstGeom>
        </p:spPr>
        <p:txBody>
          <a:bodyPr vert="horz" wrap="none" lIns="0" tIns="0" rIns="0" bIns="0" rtlCol="0" anchor="b" anchorCtr="0">
            <a:spAutoFit/>
          </a:bodyPr>
          <a:lstStyle>
            <a:defPPr>
              <a:defRPr lang="ja-JP"/>
            </a:defPPr>
            <a:lvl1pPr marL="0" algn="r" defTabSz="914400" rtl="0" eaLnBrk="1" latinLnBrk="0" hangingPunct="1">
              <a:defRPr kumimoji="1" lang="en-US" altLang="ja-JP" sz="1000" kern="1200" smtClean="0">
                <a:solidFill>
                  <a:schemeClr val="tx1"/>
                </a:solidFill>
                <a:latin typeface="Arial" pitchFamily="34" charset="0"/>
                <a:ea typeface="+mn-ea"/>
                <a:cs typeface="Arial" pitchFamily="34" charset="0"/>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9EBD5762-3BDC-484D-9503-7EA6D5A9A8CE}" type="slidenum">
              <a:rPr lang="en-US" altLang="ja-JP" smtClean="0">
                <a:solidFill>
                  <a:srgbClr val="000000"/>
                </a:solidFill>
              </a:rPr>
              <a:pPr/>
              <a:t>5</a:t>
            </a:fld>
            <a:endParaRPr lang="ja-JP" altLang="en-US" dirty="0">
              <a:solidFill>
                <a:srgbClr val="000000"/>
              </a:solidFill>
            </a:endParaRPr>
          </a:p>
        </p:txBody>
      </p:sp>
      <p:sp>
        <p:nvSpPr>
          <p:cNvPr id="17" name="正方形/長方形 16"/>
          <p:cNvSpPr/>
          <p:nvPr/>
        </p:nvSpPr>
        <p:spPr>
          <a:xfrm>
            <a:off x="6804084" y="6529654"/>
            <a:ext cx="2250250" cy="200055"/>
          </a:xfrm>
          <a:prstGeom prst="rect">
            <a:avLst/>
          </a:prstGeom>
        </p:spPr>
        <p:txBody>
          <a:bodyPr wrap="square">
            <a:spAutoFit/>
          </a:bodyPr>
          <a:lstStyle/>
          <a:p>
            <a:r>
              <a:rPr lang="en-US" altLang="ja-JP" sz="700" dirty="0">
                <a:latin typeface="ＭＳ Ｐ明朝" panose="02020600040205080304" pitchFamily="18" charset="-128"/>
                <a:ea typeface="ＭＳ Ｐ明朝" panose="02020600040205080304" pitchFamily="18" charset="-128"/>
              </a:rPr>
              <a:t>	</a:t>
            </a:r>
          </a:p>
        </p:txBody>
      </p:sp>
      <p:sp>
        <p:nvSpPr>
          <p:cNvPr id="10" name="正方形/長方形 9">
            <a:extLst>
              <a:ext uri="{FF2B5EF4-FFF2-40B4-BE49-F238E27FC236}">
                <a16:creationId xmlns:a16="http://schemas.microsoft.com/office/drawing/2014/main" id="{C1106DCF-F5B0-4CC2-A209-0C4860606172}"/>
              </a:ext>
            </a:extLst>
          </p:cNvPr>
          <p:cNvSpPr/>
          <p:nvPr/>
        </p:nvSpPr>
        <p:spPr>
          <a:xfrm>
            <a:off x="395536" y="768981"/>
            <a:ext cx="3435548" cy="369332"/>
          </a:xfrm>
          <a:prstGeom prst="rect">
            <a:avLst/>
          </a:prstGeom>
        </p:spPr>
        <p:txBody>
          <a:bodyPr wrap="square">
            <a:spAutoFit/>
          </a:bodyPr>
          <a:lstStyle/>
          <a:p>
            <a:r>
              <a:rPr lang="ja-JP" altLang="en-US" b="1" dirty="0">
                <a:solidFill>
                  <a:srgbClr val="4BACC6">
                    <a:lumMod val="75000"/>
                  </a:srgbClr>
                </a:solidFill>
                <a:latin typeface="ＭＳ Ｐ明朝" panose="02020600040205080304" pitchFamily="18" charset="-128"/>
                <a:ea typeface="ＭＳ Ｐ明朝" panose="02020600040205080304" pitchFamily="18" charset="-128"/>
              </a:rPr>
              <a:t>土地又は建物の使用料</a:t>
            </a:r>
            <a:endParaRPr lang="en-GB" b="1" dirty="0">
              <a:solidFill>
                <a:srgbClr val="4BACC6">
                  <a:lumMod val="75000"/>
                </a:srgbClr>
              </a:solidFill>
              <a:latin typeface="ＭＳ Ｐ明朝" panose="02020600040205080304" pitchFamily="18" charset="-128"/>
              <a:ea typeface="ＭＳ Ｐ明朝" panose="02020600040205080304" pitchFamily="18" charset="-128"/>
            </a:endParaRPr>
          </a:p>
        </p:txBody>
      </p:sp>
      <p:sp>
        <p:nvSpPr>
          <p:cNvPr id="11" name="正方形/長方形 10">
            <a:extLst>
              <a:ext uri="{FF2B5EF4-FFF2-40B4-BE49-F238E27FC236}">
                <a16:creationId xmlns:a16="http://schemas.microsoft.com/office/drawing/2014/main" id="{11FF5AAE-3CD6-4C29-95D7-93AA3715B68D}"/>
              </a:ext>
            </a:extLst>
          </p:cNvPr>
          <p:cNvSpPr/>
          <p:nvPr/>
        </p:nvSpPr>
        <p:spPr>
          <a:xfrm>
            <a:off x="509198" y="1641559"/>
            <a:ext cx="8230272" cy="118494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ja-JP" altLang="en-US" sz="1400" dirty="0">
                <a:solidFill>
                  <a:schemeClr val="tx1"/>
                </a:solidFill>
                <a:latin typeface="ＭＳ Ｐ明朝" panose="02020600040205080304" pitchFamily="18" charset="-128"/>
                <a:ea typeface="ＭＳ Ｐ明朝" panose="02020600040205080304" pitchFamily="18" charset="-128"/>
              </a:rPr>
              <a:t>・土地の使用１平方メートルにつき 月額 </a:t>
            </a:r>
            <a:r>
              <a:rPr lang="en-US" altLang="ja-JP" sz="1400" dirty="0">
                <a:solidFill>
                  <a:schemeClr val="tx1"/>
                </a:solidFill>
                <a:latin typeface="ＭＳ Ｐ明朝" panose="02020600040205080304" pitchFamily="18" charset="-128"/>
                <a:ea typeface="ＭＳ Ｐ明朝" panose="02020600040205080304" pitchFamily="18" charset="-128"/>
              </a:rPr>
              <a:t>15</a:t>
            </a:r>
            <a:r>
              <a:rPr lang="ja-JP" altLang="en-US" sz="1400" dirty="0">
                <a:solidFill>
                  <a:schemeClr val="tx1"/>
                </a:solidFill>
                <a:latin typeface="ＭＳ Ｐ明朝" panose="02020600040205080304" pitchFamily="18" charset="-128"/>
                <a:ea typeface="ＭＳ Ｐ明朝" panose="02020600040205080304" pitchFamily="18" charset="-128"/>
              </a:rPr>
              <a:t>円　 ⇒　年間　</a:t>
            </a:r>
            <a:r>
              <a:rPr lang="en-US" altLang="ja-JP" sz="1400" dirty="0">
                <a:solidFill>
                  <a:schemeClr val="tx1"/>
                </a:solidFill>
                <a:latin typeface="ＭＳ Ｐ明朝" panose="02020600040205080304" pitchFamily="18" charset="-128"/>
                <a:ea typeface="ＭＳ Ｐ明朝" panose="02020600040205080304" pitchFamily="18" charset="-128"/>
              </a:rPr>
              <a:t>180</a:t>
            </a:r>
            <a:r>
              <a:rPr lang="ja-JP" altLang="en-US" sz="1400" dirty="0">
                <a:solidFill>
                  <a:schemeClr val="tx1"/>
                </a:solidFill>
                <a:latin typeface="ＭＳ Ｐ明朝" panose="02020600040205080304" pitchFamily="18" charset="-128"/>
                <a:ea typeface="ＭＳ Ｐ明朝" panose="02020600040205080304" pitchFamily="18" charset="-128"/>
              </a:rPr>
              <a:t>円</a:t>
            </a:r>
            <a:r>
              <a:rPr lang="en-US" altLang="ja-JP" sz="1400" dirty="0">
                <a:solidFill>
                  <a:schemeClr val="tx1"/>
                </a:solidFill>
                <a:latin typeface="ＭＳ Ｐ明朝" panose="02020600040205080304" pitchFamily="18" charset="-128"/>
                <a:ea typeface="ＭＳ Ｐ明朝" panose="02020600040205080304" pitchFamily="18" charset="-128"/>
              </a:rPr>
              <a:t>/</a:t>
            </a:r>
            <a:r>
              <a:rPr lang="ja-JP" altLang="en-US" sz="1400" dirty="0">
                <a:solidFill>
                  <a:schemeClr val="tx1"/>
                </a:solidFill>
                <a:latin typeface="ＭＳ Ｐ明朝" panose="02020600040205080304" pitchFamily="18" charset="-128"/>
                <a:ea typeface="ＭＳ Ｐ明朝" panose="02020600040205080304" pitchFamily="18" charset="-128"/>
              </a:rPr>
              <a:t>㎡</a:t>
            </a:r>
          </a:p>
          <a:p>
            <a:r>
              <a:rPr lang="ja-JP" altLang="en-US" sz="1400" dirty="0">
                <a:solidFill>
                  <a:schemeClr val="tx1"/>
                </a:solidFill>
                <a:latin typeface="ＭＳ Ｐ明朝" panose="02020600040205080304" pitchFamily="18" charset="-128"/>
                <a:ea typeface="ＭＳ Ｐ明朝" panose="02020600040205080304" pitchFamily="18" charset="-128"/>
              </a:rPr>
              <a:t>・建物の使用１平方メートルにつき 月額 </a:t>
            </a:r>
            <a:r>
              <a:rPr lang="en-US" altLang="ja-JP" sz="1400" dirty="0">
                <a:solidFill>
                  <a:schemeClr val="tx1"/>
                </a:solidFill>
                <a:latin typeface="ＭＳ Ｐ明朝" panose="02020600040205080304" pitchFamily="18" charset="-128"/>
                <a:ea typeface="ＭＳ Ｐ明朝" panose="02020600040205080304" pitchFamily="18" charset="-128"/>
              </a:rPr>
              <a:t>220</a:t>
            </a:r>
            <a:r>
              <a:rPr lang="ja-JP" altLang="en-US" sz="1400" dirty="0">
                <a:solidFill>
                  <a:schemeClr val="tx1"/>
                </a:solidFill>
                <a:latin typeface="ＭＳ Ｐ明朝" panose="02020600040205080304" pitchFamily="18" charset="-128"/>
                <a:ea typeface="ＭＳ Ｐ明朝" panose="02020600040205080304" pitchFamily="18" charset="-128"/>
              </a:rPr>
              <a:t>円　⇒　年間　</a:t>
            </a:r>
            <a:r>
              <a:rPr lang="en-US" altLang="ja-JP" sz="1400" dirty="0">
                <a:solidFill>
                  <a:schemeClr val="tx1"/>
                </a:solidFill>
                <a:latin typeface="ＭＳ Ｐ明朝" panose="02020600040205080304" pitchFamily="18" charset="-128"/>
                <a:ea typeface="ＭＳ Ｐ明朝" panose="02020600040205080304" pitchFamily="18" charset="-128"/>
              </a:rPr>
              <a:t>2,640</a:t>
            </a:r>
            <a:r>
              <a:rPr lang="ja-JP" altLang="en-US" sz="1400" dirty="0">
                <a:solidFill>
                  <a:schemeClr val="tx1"/>
                </a:solidFill>
                <a:latin typeface="ＭＳ Ｐ明朝" panose="02020600040205080304" pitchFamily="18" charset="-128"/>
                <a:ea typeface="ＭＳ Ｐ明朝" panose="02020600040205080304" pitchFamily="18" charset="-128"/>
              </a:rPr>
              <a:t>円</a:t>
            </a:r>
            <a:r>
              <a:rPr lang="en-US" altLang="ja-JP" sz="1400" dirty="0">
                <a:solidFill>
                  <a:schemeClr val="tx1"/>
                </a:solidFill>
                <a:latin typeface="ＭＳ Ｐ明朝" panose="02020600040205080304" pitchFamily="18" charset="-128"/>
                <a:ea typeface="ＭＳ Ｐ明朝" panose="02020600040205080304" pitchFamily="18" charset="-128"/>
              </a:rPr>
              <a:t>/</a:t>
            </a:r>
            <a:r>
              <a:rPr lang="ja-JP" altLang="en-US" sz="1400" dirty="0">
                <a:solidFill>
                  <a:schemeClr val="tx1"/>
                </a:solidFill>
                <a:latin typeface="ＭＳ Ｐ明朝" panose="02020600040205080304" pitchFamily="18" charset="-128"/>
                <a:ea typeface="ＭＳ Ｐ明朝" panose="02020600040205080304" pitchFamily="18" charset="-128"/>
              </a:rPr>
              <a:t>㎡</a:t>
            </a:r>
            <a:endParaRPr lang="en-US" altLang="ja-JP" sz="1400" dirty="0">
              <a:solidFill>
                <a:schemeClr val="tx1"/>
              </a:solidFill>
              <a:latin typeface="ＭＳ Ｐ明朝" panose="02020600040205080304" pitchFamily="18" charset="-128"/>
              <a:ea typeface="ＭＳ Ｐ明朝" panose="02020600040205080304" pitchFamily="18" charset="-128"/>
            </a:endParaRPr>
          </a:p>
          <a:p>
            <a:r>
              <a:rPr lang="ja-JP" altLang="en-US" sz="1400" dirty="0">
                <a:solidFill>
                  <a:schemeClr val="tx1"/>
                </a:solidFill>
                <a:latin typeface="ＭＳ Ｐ明朝" panose="02020600040205080304" pitchFamily="18" charset="-128"/>
                <a:ea typeface="ＭＳ Ｐ明朝" panose="02020600040205080304" pitchFamily="18" charset="-128"/>
              </a:rPr>
              <a:t>　　</a:t>
            </a:r>
            <a:r>
              <a:rPr lang="ja-JP" altLang="en-US" sz="1400" u="sng" dirty="0">
                <a:solidFill>
                  <a:schemeClr val="tx1"/>
                </a:solidFill>
                <a:latin typeface="ＭＳ Ｐ明朝" panose="02020600040205080304" pitchFamily="18" charset="-128"/>
                <a:ea typeface="ＭＳ Ｐ明朝" panose="02020600040205080304" pitchFamily="18" charset="-128"/>
              </a:rPr>
              <a:t>（</a:t>
            </a:r>
            <a:r>
              <a:rPr lang="ja-JP" altLang="ja-JP" sz="1400" u="sng" dirty="0">
                <a:solidFill>
                  <a:schemeClr val="tx1"/>
                </a:solidFill>
                <a:latin typeface="ＭＳ Ｐ明朝" panose="02020600040205080304" pitchFamily="18" charset="-128"/>
                <a:ea typeface="ＭＳ Ｐ明朝" panose="02020600040205080304" pitchFamily="18" charset="-128"/>
              </a:rPr>
              <a:t>沖縄県</a:t>
            </a:r>
            <a:r>
              <a:rPr lang="ja-JP" altLang="en-US" sz="1400" u="sng" dirty="0">
                <a:solidFill>
                  <a:schemeClr val="tx1"/>
                </a:solidFill>
                <a:latin typeface="ＭＳ Ｐ明朝" panose="02020600040205080304" pitchFamily="18" charset="-128"/>
                <a:ea typeface="ＭＳ Ｐ明朝" panose="02020600040205080304" pitchFamily="18" charset="-128"/>
              </a:rPr>
              <a:t>空港の設置及び管理に関する条例）</a:t>
            </a:r>
            <a:endParaRPr lang="en-US" altLang="ja-JP" sz="1400" u="sng" dirty="0">
              <a:solidFill>
                <a:schemeClr val="tx1"/>
              </a:solidFill>
              <a:latin typeface="ＭＳ Ｐ明朝" panose="02020600040205080304" pitchFamily="18" charset="-128"/>
              <a:ea typeface="ＭＳ Ｐ明朝" panose="02020600040205080304" pitchFamily="18" charset="-128"/>
            </a:endParaRPr>
          </a:p>
          <a:p>
            <a:endParaRPr lang="en-US" altLang="ja-JP" sz="1100" dirty="0">
              <a:solidFill>
                <a:schemeClr val="tx1"/>
              </a:solidFill>
              <a:latin typeface="ＭＳ Ｐ明朝" panose="02020600040205080304" pitchFamily="18" charset="-128"/>
              <a:ea typeface="ＭＳ Ｐ明朝" panose="02020600040205080304" pitchFamily="18" charset="-128"/>
            </a:endParaRPr>
          </a:p>
          <a:p>
            <a:r>
              <a:rPr lang="ja-JP" altLang="en-US" dirty="0">
                <a:solidFill>
                  <a:schemeClr val="tx1"/>
                </a:solidFill>
                <a:latin typeface="ＭＳ Ｐ明朝" panose="02020600040205080304" pitchFamily="18" charset="-128"/>
                <a:ea typeface="ＭＳ Ｐ明朝" panose="02020600040205080304" pitchFamily="18" charset="-128"/>
              </a:rPr>
              <a:t>事例　東京ドーム（約</a:t>
            </a:r>
            <a:r>
              <a:rPr lang="en-US" altLang="ja-JP" dirty="0">
                <a:solidFill>
                  <a:schemeClr val="tx1"/>
                </a:solidFill>
                <a:latin typeface="ＭＳ Ｐ明朝" panose="02020600040205080304" pitchFamily="18" charset="-128"/>
                <a:ea typeface="ＭＳ Ｐ明朝" panose="02020600040205080304" pitchFamily="18" charset="-128"/>
              </a:rPr>
              <a:t>5</a:t>
            </a:r>
            <a:r>
              <a:rPr lang="ja-JP" altLang="en-US" dirty="0">
                <a:solidFill>
                  <a:schemeClr val="tx1"/>
                </a:solidFill>
                <a:latin typeface="ＭＳ Ｐ明朝" panose="02020600040205080304" pitchFamily="18" charset="-128"/>
                <a:ea typeface="ＭＳ Ｐ明朝" panose="02020600040205080304" pitchFamily="18" charset="-128"/>
              </a:rPr>
              <a:t>万㎡（</a:t>
            </a:r>
            <a:r>
              <a:rPr lang="en-US" altLang="ja-JP" dirty="0">
                <a:solidFill>
                  <a:schemeClr val="tx1"/>
                </a:solidFill>
                <a:latin typeface="ＭＳ Ｐ明朝" panose="02020600040205080304" pitchFamily="18" charset="-128"/>
                <a:ea typeface="ＭＳ Ｐ明朝" panose="02020600040205080304" pitchFamily="18" charset="-128"/>
              </a:rPr>
              <a:t>5ha</a:t>
            </a:r>
            <a:r>
              <a:rPr lang="ja-JP" altLang="en-US" dirty="0">
                <a:solidFill>
                  <a:schemeClr val="tx1"/>
                </a:solidFill>
                <a:latin typeface="ＭＳ Ｐ明朝" panose="02020600040205080304" pitchFamily="18" charset="-128"/>
                <a:ea typeface="ＭＳ Ｐ明朝" panose="02020600040205080304" pitchFamily="18" charset="-128"/>
              </a:rPr>
              <a:t>））と同様の面積を使用した場合、</a:t>
            </a:r>
            <a:r>
              <a:rPr lang="ja-JP" altLang="en-US" b="1" dirty="0">
                <a:solidFill>
                  <a:srgbClr val="FF0000"/>
                </a:solidFill>
                <a:latin typeface="ＭＳ Ｐ明朝" panose="02020600040205080304" pitchFamily="18" charset="-128"/>
                <a:ea typeface="ＭＳ Ｐ明朝" panose="02020600040205080304" pitchFamily="18" charset="-128"/>
              </a:rPr>
              <a:t>年間　</a:t>
            </a:r>
            <a:r>
              <a:rPr lang="en-US" altLang="ja-JP" b="1" dirty="0">
                <a:solidFill>
                  <a:srgbClr val="FF0000"/>
                </a:solidFill>
                <a:latin typeface="ＭＳ Ｐ明朝" panose="02020600040205080304" pitchFamily="18" charset="-128"/>
                <a:ea typeface="ＭＳ Ｐ明朝" panose="02020600040205080304" pitchFamily="18" charset="-128"/>
              </a:rPr>
              <a:t>9,000,000</a:t>
            </a:r>
            <a:r>
              <a:rPr lang="ja-JP" altLang="en-US" b="1" dirty="0">
                <a:solidFill>
                  <a:srgbClr val="FF0000"/>
                </a:solidFill>
                <a:latin typeface="ＭＳ Ｐ明朝" panose="02020600040205080304" pitchFamily="18" charset="-128"/>
                <a:ea typeface="ＭＳ Ｐ明朝" panose="02020600040205080304" pitchFamily="18" charset="-128"/>
              </a:rPr>
              <a:t>円</a:t>
            </a:r>
          </a:p>
        </p:txBody>
      </p:sp>
      <p:sp>
        <p:nvSpPr>
          <p:cNvPr id="2" name="テキスト ボックス 1">
            <a:extLst>
              <a:ext uri="{FF2B5EF4-FFF2-40B4-BE49-F238E27FC236}">
                <a16:creationId xmlns:a16="http://schemas.microsoft.com/office/drawing/2014/main" id="{DA2EC43C-3D27-0994-DE60-8ADC4C8A00F2}"/>
              </a:ext>
            </a:extLst>
          </p:cNvPr>
          <p:cNvSpPr txBox="1"/>
          <p:nvPr/>
        </p:nvSpPr>
        <p:spPr>
          <a:xfrm>
            <a:off x="666750" y="1266825"/>
            <a:ext cx="3286125" cy="246221"/>
          </a:xfrm>
          <a:prstGeom prst="rect">
            <a:avLst/>
          </a:prstGeom>
          <a:noFill/>
          <a:ln w="9525" algn="ctr">
            <a:noFill/>
            <a:miter lim="800000"/>
            <a:headEnd/>
            <a:tailEnd/>
          </a:ln>
          <a:effectLst/>
        </p:spPr>
        <p:txBody>
          <a:bodyPr vert="horz" wrap="square" lIns="0" tIns="0" rIns="0" bIns="0" numCol="1" rtlCol="0" anchor="t" anchorCtr="0" compatLnSpc="1">
            <a:prstTxWarp prst="textNoShape">
              <a:avLst/>
            </a:prstTxWarp>
            <a:spAutoFit/>
          </a:bodyPr>
          <a:lstStyle/>
          <a:p>
            <a:pPr marL="177800" indent="-177800" fontAlgn="base" hangingPunct="0">
              <a:spcAft>
                <a:spcPct val="0"/>
              </a:spcAft>
              <a:buSzPct val="100000"/>
            </a:pPr>
            <a:r>
              <a:rPr kumimoji="0" lang="ja-JP" altLang="en-US" sz="1600" b="0" i="0" dirty="0">
                <a:solidFill>
                  <a:srgbClr val="000000"/>
                </a:solidFill>
                <a:latin typeface="HGP明朝E"/>
                <a:ea typeface="HGP明朝E"/>
                <a:cs typeface="Arial" charset="0"/>
              </a:rPr>
              <a:t>①　行政財産　空港告示区域</a:t>
            </a:r>
          </a:p>
        </p:txBody>
      </p:sp>
      <p:sp>
        <p:nvSpPr>
          <p:cNvPr id="3" name="正方形/長方形 2">
            <a:extLst>
              <a:ext uri="{FF2B5EF4-FFF2-40B4-BE49-F238E27FC236}">
                <a16:creationId xmlns:a16="http://schemas.microsoft.com/office/drawing/2014/main" id="{FF3C21B6-D436-4743-CB07-E76D71F102DE}"/>
              </a:ext>
            </a:extLst>
          </p:cNvPr>
          <p:cNvSpPr/>
          <p:nvPr/>
        </p:nvSpPr>
        <p:spPr>
          <a:xfrm>
            <a:off x="509197" y="3724833"/>
            <a:ext cx="8230271" cy="107721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ja-JP" altLang="en-US" sz="1400" dirty="0">
                <a:solidFill>
                  <a:schemeClr val="tx1"/>
                </a:solidFill>
                <a:latin typeface="ＭＳ Ｐ明朝" panose="02020600040205080304" pitchFamily="18" charset="-128"/>
                <a:ea typeface="ＭＳ Ｐ明朝" panose="02020600040205080304" pitchFamily="18" charset="-128"/>
              </a:rPr>
              <a:t>・土地の使用１平方メートルにつき 年間　</a:t>
            </a:r>
            <a:r>
              <a:rPr lang="en-US" altLang="ja-JP" sz="1400" dirty="0">
                <a:solidFill>
                  <a:schemeClr val="tx1"/>
                </a:solidFill>
                <a:latin typeface="ＭＳ Ｐ明朝" panose="02020600040205080304" pitchFamily="18" charset="-128"/>
                <a:ea typeface="ＭＳ Ｐ明朝" panose="02020600040205080304" pitchFamily="18" charset="-128"/>
              </a:rPr>
              <a:t>115</a:t>
            </a:r>
            <a:r>
              <a:rPr lang="ja-JP" altLang="en-US" sz="1400" dirty="0">
                <a:solidFill>
                  <a:schemeClr val="tx1"/>
                </a:solidFill>
                <a:latin typeface="ＭＳ Ｐ明朝" panose="02020600040205080304" pitchFamily="18" charset="-128"/>
                <a:ea typeface="ＭＳ Ｐ明朝" panose="02020600040205080304" pitchFamily="18" charset="-128"/>
              </a:rPr>
              <a:t>円</a:t>
            </a:r>
            <a:r>
              <a:rPr lang="en-US" altLang="ja-JP" sz="1400" dirty="0">
                <a:solidFill>
                  <a:schemeClr val="tx1"/>
                </a:solidFill>
                <a:latin typeface="ＭＳ Ｐ明朝" panose="02020600040205080304" pitchFamily="18" charset="-128"/>
                <a:ea typeface="ＭＳ Ｐ明朝" panose="02020600040205080304" pitchFamily="18" charset="-128"/>
              </a:rPr>
              <a:t>/</a:t>
            </a:r>
            <a:r>
              <a:rPr lang="ja-JP" altLang="en-US" sz="1400" dirty="0">
                <a:solidFill>
                  <a:schemeClr val="tx1"/>
                </a:solidFill>
                <a:latin typeface="ＭＳ Ｐ明朝" panose="02020600040205080304" pitchFamily="18" charset="-128"/>
                <a:ea typeface="ＭＳ Ｐ明朝" panose="02020600040205080304" pitchFamily="18" charset="-128"/>
              </a:rPr>
              <a:t>㎡</a:t>
            </a:r>
            <a:r>
              <a:rPr lang="ja-JP" altLang="en-US" sz="1400" u="sng" dirty="0">
                <a:solidFill>
                  <a:schemeClr val="tx1"/>
                </a:solidFill>
                <a:latin typeface="ＭＳ Ｐ明朝" panose="02020600040205080304" pitchFamily="18" charset="-128"/>
                <a:ea typeface="ＭＳ Ｐ明朝" panose="02020600040205080304" pitchFamily="18" charset="-128"/>
              </a:rPr>
              <a:t>　（参考値（地価により変動する））</a:t>
            </a:r>
            <a:endParaRPr lang="en-US" altLang="ja-JP" sz="1400" u="sng" dirty="0">
              <a:solidFill>
                <a:schemeClr val="tx1"/>
              </a:solidFill>
              <a:latin typeface="ＭＳ Ｐ明朝" panose="02020600040205080304" pitchFamily="18" charset="-128"/>
              <a:ea typeface="ＭＳ Ｐ明朝" panose="02020600040205080304" pitchFamily="18" charset="-128"/>
            </a:endParaRPr>
          </a:p>
          <a:p>
            <a:endParaRPr lang="en-US" altLang="ja-JP" sz="1400" dirty="0">
              <a:solidFill>
                <a:schemeClr val="tx1"/>
              </a:solidFill>
              <a:latin typeface="ＭＳ Ｐ明朝" panose="02020600040205080304" pitchFamily="18" charset="-128"/>
              <a:ea typeface="ＭＳ Ｐ明朝" panose="02020600040205080304" pitchFamily="18" charset="-128"/>
            </a:endParaRPr>
          </a:p>
          <a:p>
            <a:r>
              <a:rPr lang="ja-JP" altLang="en-US" dirty="0">
                <a:solidFill>
                  <a:schemeClr val="tx1"/>
                </a:solidFill>
                <a:latin typeface="ＭＳ Ｐ明朝" panose="02020600040205080304" pitchFamily="18" charset="-128"/>
                <a:ea typeface="ＭＳ Ｐ明朝" panose="02020600040205080304" pitchFamily="18" charset="-128"/>
              </a:rPr>
              <a:t>事例　美ら島水族館約（１万㎡（</a:t>
            </a:r>
            <a:r>
              <a:rPr lang="en-US" altLang="ja-JP" dirty="0">
                <a:solidFill>
                  <a:schemeClr val="tx1"/>
                </a:solidFill>
                <a:latin typeface="ＭＳ Ｐ明朝" panose="02020600040205080304" pitchFamily="18" charset="-128"/>
                <a:ea typeface="ＭＳ Ｐ明朝" panose="02020600040205080304" pitchFamily="18" charset="-128"/>
              </a:rPr>
              <a:t>1ha</a:t>
            </a:r>
            <a:r>
              <a:rPr lang="ja-JP" altLang="en-US" dirty="0">
                <a:solidFill>
                  <a:schemeClr val="tx1"/>
                </a:solidFill>
                <a:latin typeface="ＭＳ Ｐ明朝" panose="02020600040205080304" pitchFamily="18" charset="-128"/>
                <a:ea typeface="ＭＳ Ｐ明朝" panose="02020600040205080304" pitchFamily="18" charset="-128"/>
              </a:rPr>
              <a:t>））と同様の面積を使用した場合、</a:t>
            </a:r>
            <a:endParaRPr lang="en-US" altLang="ja-JP" dirty="0">
              <a:solidFill>
                <a:schemeClr val="tx1"/>
              </a:solidFill>
              <a:latin typeface="ＭＳ Ｐ明朝" panose="02020600040205080304" pitchFamily="18" charset="-128"/>
              <a:ea typeface="ＭＳ Ｐ明朝" panose="02020600040205080304" pitchFamily="18" charset="-128"/>
            </a:endParaRPr>
          </a:p>
          <a:p>
            <a:r>
              <a:rPr lang="ja-JP" altLang="en-US" b="1" dirty="0">
                <a:solidFill>
                  <a:schemeClr val="tx1"/>
                </a:solidFill>
                <a:latin typeface="ＭＳ Ｐ明朝" panose="02020600040205080304" pitchFamily="18" charset="-128"/>
                <a:ea typeface="ＭＳ Ｐ明朝" panose="02020600040205080304" pitchFamily="18" charset="-128"/>
              </a:rPr>
              <a:t>　　　　　　　　　　　　　　　　　　　　　　　　　　　　　　　　　　　　　　　　　</a:t>
            </a:r>
            <a:r>
              <a:rPr lang="ja-JP" altLang="en-US" b="1" dirty="0">
                <a:solidFill>
                  <a:srgbClr val="FF0000"/>
                </a:solidFill>
                <a:latin typeface="ＭＳ Ｐ明朝" panose="02020600040205080304" pitchFamily="18" charset="-128"/>
                <a:ea typeface="ＭＳ Ｐ明朝" panose="02020600040205080304" pitchFamily="18" charset="-128"/>
              </a:rPr>
              <a:t>年間　</a:t>
            </a:r>
            <a:r>
              <a:rPr lang="en-US" altLang="ja-JP" b="1" dirty="0">
                <a:solidFill>
                  <a:srgbClr val="FF0000"/>
                </a:solidFill>
                <a:latin typeface="ＭＳ Ｐ明朝" panose="02020600040205080304" pitchFamily="18" charset="-128"/>
                <a:ea typeface="ＭＳ Ｐ明朝" panose="02020600040205080304" pitchFamily="18" charset="-128"/>
              </a:rPr>
              <a:t>1,150,000</a:t>
            </a:r>
            <a:r>
              <a:rPr lang="ja-JP" altLang="en-US" b="1" dirty="0">
                <a:solidFill>
                  <a:srgbClr val="FF0000"/>
                </a:solidFill>
                <a:latin typeface="ＭＳ Ｐ明朝" panose="02020600040205080304" pitchFamily="18" charset="-128"/>
                <a:ea typeface="ＭＳ Ｐ明朝" panose="02020600040205080304" pitchFamily="18" charset="-128"/>
              </a:rPr>
              <a:t>円</a:t>
            </a:r>
            <a:endParaRPr lang="ja-JP" altLang="en-US" sz="1400" b="1" dirty="0">
              <a:solidFill>
                <a:srgbClr val="FF0000"/>
              </a:solidFill>
              <a:latin typeface="ＭＳ Ｐ明朝" panose="02020600040205080304" pitchFamily="18" charset="-128"/>
              <a:ea typeface="ＭＳ Ｐ明朝" panose="02020600040205080304" pitchFamily="18" charset="-128"/>
            </a:endParaRPr>
          </a:p>
        </p:txBody>
      </p:sp>
      <p:sp>
        <p:nvSpPr>
          <p:cNvPr id="4" name="テキスト ボックス 3">
            <a:extLst>
              <a:ext uri="{FF2B5EF4-FFF2-40B4-BE49-F238E27FC236}">
                <a16:creationId xmlns:a16="http://schemas.microsoft.com/office/drawing/2014/main" id="{1671DD8C-544B-9724-8CAA-EB910F74633A}"/>
              </a:ext>
            </a:extLst>
          </p:cNvPr>
          <p:cNvSpPr txBox="1"/>
          <p:nvPr/>
        </p:nvSpPr>
        <p:spPr>
          <a:xfrm>
            <a:off x="666750" y="3350099"/>
            <a:ext cx="3286125" cy="246221"/>
          </a:xfrm>
          <a:prstGeom prst="rect">
            <a:avLst/>
          </a:prstGeom>
          <a:noFill/>
          <a:ln w="9525" algn="ctr">
            <a:noFill/>
            <a:miter lim="800000"/>
            <a:headEnd/>
            <a:tailEnd/>
          </a:ln>
          <a:effectLst/>
        </p:spPr>
        <p:txBody>
          <a:bodyPr vert="horz" wrap="square" lIns="0" tIns="0" rIns="0" bIns="0" numCol="1" rtlCol="0" anchor="t" anchorCtr="0" compatLnSpc="1">
            <a:prstTxWarp prst="textNoShape">
              <a:avLst/>
            </a:prstTxWarp>
            <a:spAutoFit/>
          </a:bodyPr>
          <a:lstStyle/>
          <a:p>
            <a:pPr marL="177800" indent="-177800" fontAlgn="base" hangingPunct="0">
              <a:spcAft>
                <a:spcPct val="0"/>
              </a:spcAft>
              <a:buSzPct val="100000"/>
            </a:pPr>
            <a:r>
              <a:rPr kumimoji="0" lang="ja-JP" altLang="en-US" sz="1600" dirty="0">
                <a:solidFill>
                  <a:srgbClr val="000000"/>
                </a:solidFill>
                <a:latin typeface="HGP明朝E"/>
                <a:ea typeface="HGP明朝E"/>
                <a:cs typeface="Arial" charset="0"/>
              </a:rPr>
              <a:t>②　普通財産</a:t>
            </a:r>
            <a:r>
              <a:rPr kumimoji="0" lang="ja-JP" altLang="en-US" sz="1600" b="0" i="0" dirty="0">
                <a:solidFill>
                  <a:srgbClr val="000000"/>
                </a:solidFill>
                <a:latin typeface="HGP明朝E"/>
                <a:ea typeface="HGP明朝E"/>
                <a:cs typeface="Arial" charset="0"/>
              </a:rPr>
              <a:t>　空港告示区域　</a:t>
            </a:r>
            <a:r>
              <a:rPr kumimoji="0" lang="en-US" altLang="ja-JP" sz="1600" b="0" i="0" dirty="0">
                <a:solidFill>
                  <a:srgbClr val="000000"/>
                </a:solidFill>
                <a:latin typeface="HGP明朝E"/>
                <a:ea typeface="HGP明朝E"/>
                <a:cs typeface="Arial" charset="0"/>
              </a:rPr>
              <a:t>『</a:t>
            </a:r>
            <a:r>
              <a:rPr kumimoji="0" lang="ja-JP" altLang="en-US" sz="1600" b="0" i="0" dirty="0">
                <a:solidFill>
                  <a:srgbClr val="000000"/>
                </a:solidFill>
                <a:latin typeface="HGP明朝E"/>
                <a:ea typeface="HGP明朝E"/>
                <a:cs typeface="Arial" charset="0"/>
              </a:rPr>
              <a:t>外</a:t>
            </a:r>
            <a:r>
              <a:rPr kumimoji="0" lang="en-US" altLang="ja-JP" sz="1600" b="0" i="0" dirty="0">
                <a:solidFill>
                  <a:srgbClr val="000000"/>
                </a:solidFill>
                <a:latin typeface="HGP明朝E"/>
                <a:ea typeface="HGP明朝E"/>
                <a:cs typeface="Arial" charset="0"/>
              </a:rPr>
              <a:t>』</a:t>
            </a:r>
            <a:endParaRPr kumimoji="0" lang="ja-JP" altLang="en-US" sz="1600" b="0" i="0" dirty="0">
              <a:solidFill>
                <a:srgbClr val="000000"/>
              </a:solidFill>
              <a:latin typeface="HGP明朝E"/>
              <a:ea typeface="HGP明朝E"/>
              <a:cs typeface="Arial" charset="0"/>
            </a:endParaRPr>
          </a:p>
        </p:txBody>
      </p:sp>
    </p:spTree>
    <p:extLst>
      <p:ext uri="{BB962C8B-B14F-4D97-AF65-F5344CB8AC3E}">
        <p14:creationId xmlns:p14="http://schemas.microsoft.com/office/powerpoint/2010/main" val="8493637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タイトル 1"/>
          <p:cNvSpPr txBox="1">
            <a:spLocks/>
          </p:cNvSpPr>
          <p:nvPr/>
        </p:nvSpPr>
        <p:spPr>
          <a:xfrm>
            <a:off x="395536" y="235585"/>
            <a:ext cx="8064500" cy="45711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lvl1pPr algn="l" defTabSz="914400" rtl="0" eaLnBrk="1" latinLnBrk="0" hangingPunct="1">
              <a:lnSpc>
                <a:spcPct val="100000"/>
              </a:lnSpc>
              <a:spcBef>
                <a:spcPct val="0"/>
              </a:spcBef>
              <a:buNone/>
              <a:defRPr kumimoji="1" lang="en-GB" altLang="ja-JP" sz="2400" b="1" i="1" kern="1200" baseline="0" noProof="0">
                <a:solidFill>
                  <a:schemeClr val="tx1"/>
                </a:solidFill>
                <a:latin typeface="+mj-lt"/>
                <a:ea typeface="+mj-ea"/>
                <a:cs typeface="+mj-cs"/>
              </a:defRPr>
            </a:lvl1pPr>
          </a:lstStyle>
          <a:p>
            <a:pPr>
              <a:defRPr/>
            </a:pPr>
            <a:r>
              <a:rPr lang="ja-JP" altLang="en-US" sz="2000" dirty="0">
                <a:solidFill>
                  <a:schemeClr val="tx2">
                    <a:lumMod val="75000"/>
                  </a:schemeClr>
                </a:solidFill>
                <a:latin typeface="HGP明朝E"/>
                <a:ea typeface="HGP明朝E"/>
              </a:rPr>
              <a:t>公募から基本合意までのスケジュール案</a:t>
            </a:r>
            <a:r>
              <a:rPr lang="ja-JP" altLang="en-US" sz="1200" dirty="0">
                <a:solidFill>
                  <a:schemeClr val="tx2">
                    <a:lumMod val="75000"/>
                  </a:schemeClr>
                </a:solidFill>
                <a:latin typeface="HGP明朝E"/>
                <a:ea typeface="HGP明朝E"/>
              </a:rPr>
              <a:t>（第</a:t>
            </a:r>
            <a:r>
              <a:rPr lang="en-US" altLang="ja-JP" sz="1200" dirty="0">
                <a:solidFill>
                  <a:schemeClr val="tx2">
                    <a:lumMod val="75000"/>
                  </a:schemeClr>
                </a:solidFill>
                <a:latin typeface="HGP明朝E"/>
                <a:ea typeface="HGP明朝E"/>
              </a:rPr>
              <a:t>3</a:t>
            </a:r>
            <a:r>
              <a:rPr lang="ja-JP" altLang="en-US" sz="1200" dirty="0">
                <a:solidFill>
                  <a:schemeClr val="tx2">
                    <a:lumMod val="75000"/>
                  </a:schemeClr>
                </a:solidFill>
                <a:latin typeface="HGP明朝E"/>
                <a:ea typeface="HGP明朝E"/>
              </a:rPr>
              <a:t>期までのスケジュールを参考として作成）</a:t>
            </a:r>
            <a:endParaRPr lang="ja-JP" altLang="en-US" sz="1800" dirty="0">
              <a:solidFill>
                <a:schemeClr val="tx2">
                  <a:lumMod val="75000"/>
                </a:schemeClr>
              </a:solidFill>
              <a:latin typeface="HGP明朝E"/>
              <a:ea typeface="HGP明朝E"/>
            </a:endParaRPr>
          </a:p>
        </p:txBody>
      </p:sp>
      <p:sp>
        <p:nvSpPr>
          <p:cNvPr id="16" name="スライド番号プレースホルダー 1"/>
          <p:cNvSpPr txBox="1">
            <a:spLocks/>
          </p:cNvSpPr>
          <p:nvPr/>
        </p:nvSpPr>
        <p:spPr>
          <a:xfrm>
            <a:off x="8725936" y="6557888"/>
            <a:ext cx="221214" cy="153888"/>
          </a:xfrm>
          <a:prstGeom prst="rect">
            <a:avLst/>
          </a:prstGeom>
        </p:spPr>
        <p:txBody>
          <a:bodyPr vert="horz" wrap="none" lIns="0" tIns="0" rIns="0" bIns="0" rtlCol="0" anchor="b" anchorCtr="0">
            <a:spAutoFit/>
          </a:bodyPr>
          <a:lstStyle>
            <a:defPPr>
              <a:defRPr lang="ja-JP"/>
            </a:defPPr>
            <a:lvl1pPr marL="0" algn="r" defTabSz="914400" rtl="0" eaLnBrk="1" latinLnBrk="0" hangingPunct="1">
              <a:defRPr kumimoji="1" lang="en-US" altLang="ja-JP" sz="1000" kern="1200" smtClean="0">
                <a:solidFill>
                  <a:schemeClr val="tx1"/>
                </a:solidFill>
                <a:latin typeface="Arial" pitchFamily="34" charset="0"/>
                <a:ea typeface="+mn-ea"/>
                <a:cs typeface="Arial" pitchFamily="34" charset="0"/>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9EBD5762-3BDC-484D-9503-7EA6D5A9A8CE}" type="slidenum">
              <a:rPr lang="en-US" altLang="ja-JP" smtClean="0">
                <a:solidFill>
                  <a:srgbClr val="000000"/>
                </a:solidFill>
              </a:rPr>
              <a:pPr/>
              <a:t>6</a:t>
            </a:fld>
            <a:endParaRPr lang="ja-JP" altLang="en-US" dirty="0">
              <a:solidFill>
                <a:srgbClr val="000000"/>
              </a:solidFill>
            </a:endParaRPr>
          </a:p>
        </p:txBody>
      </p:sp>
      <p:sp>
        <p:nvSpPr>
          <p:cNvPr id="17" name="正方形/長方形 16"/>
          <p:cNvSpPr/>
          <p:nvPr/>
        </p:nvSpPr>
        <p:spPr>
          <a:xfrm>
            <a:off x="6804084" y="6529654"/>
            <a:ext cx="2250250" cy="200055"/>
          </a:xfrm>
          <a:prstGeom prst="rect">
            <a:avLst/>
          </a:prstGeom>
        </p:spPr>
        <p:txBody>
          <a:bodyPr wrap="square">
            <a:spAutoFit/>
          </a:bodyPr>
          <a:lstStyle/>
          <a:p>
            <a:r>
              <a:rPr lang="en-US" altLang="ja-JP" sz="700" dirty="0">
                <a:latin typeface="ＭＳ Ｐ明朝" panose="02020600040205080304" pitchFamily="18" charset="-128"/>
                <a:ea typeface="ＭＳ Ｐ明朝" panose="02020600040205080304" pitchFamily="18" charset="-128"/>
              </a:rPr>
              <a:t>	</a:t>
            </a:r>
          </a:p>
        </p:txBody>
      </p:sp>
      <p:sp>
        <p:nvSpPr>
          <p:cNvPr id="10" name="正方形/長方形 9">
            <a:extLst>
              <a:ext uri="{FF2B5EF4-FFF2-40B4-BE49-F238E27FC236}">
                <a16:creationId xmlns:a16="http://schemas.microsoft.com/office/drawing/2014/main" id="{C1106DCF-F5B0-4CC2-A209-0C4860606172}"/>
              </a:ext>
            </a:extLst>
          </p:cNvPr>
          <p:cNvSpPr/>
          <p:nvPr/>
        </p:nvSpPr>
        <p:spPr>
          <a:xfrm>
            <a:off x="273099" y="735955"/>
            <a:ext cx="8717596" cy="1815882"/>
          </a:xfrm>
          <a:prstGeom prst="rect">
            <a:avLst/>
          </a:prstGeom>
        </p:spPr>
        <p:txBody>
          <a:bodyPr wrap="square">
            <a:spAutoFit/>
          </a:bodyPr>
          <a:lstStyle/>
          <a:p>
            <a:r>
              <a:rPr lang="ja-JP" altLang="en-US" sz="1600" b="1" dirty="0">
                <a:solidFill>
                  <a:srgbClr val="4BACC6">
                    <a:lumMod val="75000"/>
                  </a:srgbClr>
                </a:solidFill>
                <a:latin typeface="ＭＳ Ｐ明朝" panose="02020600040205080304" pitchFamily="18" charset="-128"/>
                <a:ea typeface="ＭＳ Ｐ明朝" panose="02020600040205080304" pitchFamily="18" charset="-128"/>
              </a:rPr>
              <a:t>●　これまでの公募は、</a:t>
            </a:r>
            <a:r>
              <a:rPr lang="en-US" altLang="ja-JP" sz="1600" b="1" dirty="0">
                <a:solidFill>
                  <a:srgbClr val="4BACC6">
                    <a:lumMod val="75000"/>
                  </a:srgbClr>
                </a:solidFill>
                <a:latin typeface="ＭＳ Ｐ明朝" panose="02020600040205080304" pitchFamily="18" charset="-128"/>
                <a:ea typeface="ＭＳ Ｐ明朝" panose="02020600040205080304" pitchFamily="18" charset="-128"/>
              </a:rPr>
              <a:t>2</a:t>
            </a:r>
            <a:r>
              <a:rPr lang="ja-JP" altLang="en-US" sz="1600" b="1" dirty="0">
                <a:solidFill>
                  <a:srgbClr val="4BACC6">
                    <a:lumMod val="75000"/>
                  </a:srgbClr>
                </a:solidFill>
                <a:latin typeface="ＭＳ Ｐ明朝" panose="02020600040205080304" pitchFamily="18" charset="-128"/>
                <a:ea typeface="ＭＳ Ｐ明朝" panose="02020600040205080304" pitchFamily="18" charset="-128"/>
              </a:rPr>
              <a:t>段階の手順を経て基本合意としてきた。</a:t>
            </a:r>
            <a:endParaRPr lang="en-US" altLang="ja-JP" sz="1600" b="1" dirty="0">
              <a:solidFill>
                <a:srgbClr val="4BACC6">
                  <a:lumMod val="75000"/>
                </a:srgbClr>
              </a:solidFill>
              <a:latin typeface="ＭＳ Ｐ明朝" panose="02020600040205080304" pitchFamily="18" charset="-128"/>
              <a:ea typeface="ＭＳ Ｐ明朝" panose="02020600040205080304" pitchFamily="18" charset="-128"/>
            </a:endParaRPr>
          </a:p>
          <a:p>
            <a:r>
              <a:rPr lang="ja-JP" altLang="en-US" sz="1600" b="1" dirty="0">
                <a:solidFill>
                  <a:srgbClr val="4BACC6">
                    <a:lumMod val="75000"/>
                  </a:srgbClr>
                </a:solidFill>
                <a:latin typeface="ＭＳ Ｐ明朝" panose="02020600040205080304" pitchFamily="18" charset="-128"/>
                <a:ea typeface="ＭＳ Ｐ明朝" panose="02020600040205080304" pitchFamily="18" charset="-128"/>
              </a:rPr>
              <a:t>①　公募開始から、８か月（周知期間含む）を期限とし、その後、検討委員会の助言等をいただき、</a:t>
            </a:r>
            <a:endParaRPr lang="en-US" altLang="ja-JP" sz="1600" b="1" dirty="0">
              <a:solidFill>
                <a:srgbClr val="4BACC6">
                  <a:lumMod val="75000"/>
                </a:srgbClr>
              </a:solidFill>
              <a:latin typeface="ＭＳ Ｐ明朝" panose="02020600040205080304" pitchFamily="18" charset="-128"/>
              <a:ea typeface="ＭＳ Ｐ明朝" panose="02020600040205080304" pitchFamily="18" charset="-128"/>
            </a:endParaRPr>
          </a:p>
          <a:p>
            <a:r>
              <a:rPr lang="ja-JP" altLang="en-US" sz="1600" b="1" dirty="0">
                <a:solidFill>
                  <a:srgbClr val="4BACC6">
                    <a:lumMod val="75000"/>
                  </a:srgbClr>
                </a:solidFill>
                <a:latin typeface="ＭＳ Ｐ明朝" panose="02020600040205080304" pitchFamily="18" charset="-128"/>
                <a:ea typeface="ＭＳ Ｐ明朝" panose="02020600040205080304" pitchFamily="18" charset="-128"/>
              </a:rPr>
              <a:t>　　候補事業者を選定（所要期間２ヶ月）。</a:t>
            </a:r>
            <a:endParaRPr lang="en-US" altLang="ja-JP" sz="1600" b="1" dirty="0">
              <a:solidFill>
                <a:srgbClr val="4BACC6">
                  <a:lumMod val="75000"/>
                </a:srgbClr>
              </a:solidFill>
              <a:latin typeface="ＭＳ Ｐ明朝" panose="02020600040205080304" pitchFamily="18" charset="-128"/>
              <a:ea typeface="ＭＳ Ｐ明朝" panose="02020600040205080304" pitchFamily="18" charset="-128"/>
            </a:endParaRPr>
          </a:p>
          <a:p>
            <a:r>
              <a:rPr lang="ja-JP" altLang="en-US" sz="1600" b="1" dirty="0">
                <a:solidFill>
                  <a:srgbClr val="4BACC6">
                    <a:lumMod val="75000"/>
                  </a:srgbClr>
                </a:solidFill>
                <a:latin typeface="ＭＳ Ｐ明朝" panose="02020600040205080304" pitchFamily="18" charset="-128"/>
                <a:ea typeface="ＭＳ Ｐ明朝" panose="02020600040205080304" pitchFamily="18" charset="-128"/>
              </a:rPr>
              <a:t>　　（現場見学会、説明会、質問回答、個別対話、プレゼンテーション、　実施予定）</a:t>
            </a:r>
            <a:endParaRPr lang="en-US" altLang="ja-JP" sz="1600" b="1" dirty="0">
              <a:solidFill>
                <a:srgbClr val="4BACC6">
                  <a:lumMod val="75000"/>
                </a:srgbClr>
              </a:solidFill>
              <a:latin typeface="ＭＳ Ｐ明朝" panose="02020600040205080304" pitchFamily="18" charset="-128"/>
              <a:ea typeface="ＭＳ Ｐ明朝" panose="02020600040205080304" pitchFamily="18" charset="-128"/>
            </a:endParaRPr>
          </a:p>
          <a:p>
            <a:endParaRPr lang="en-US" sz="1600" b="1" dirty="0">
              <a:solidFill>
                <a:srgbClr val="4BACC6">
                  <a:lumMod val="75000"/>
                </a:srgbClr>
              </a:solidFill>
              <a:latin typeface="ＭＳ Ｐ明朝" panose="02020600040205080304" pitchFamily="18" charset="-128"/>
              <a:ea typeface="ＭＳ Ｐ明朝" panose="02020600040205080304" pitchFamily="18" charset="-128"/>
            </a:endParaRPr>
          </a:p>
          <a:p>
            <a:r>
              <a:rPr lang="ja-JP" altLang="en-US" sz="1600" b="1" dirty="0">
                <a:solidFill>
                  <a:srgbClr val="4BACC6">
                    <a:lumMod val="75000"/>
                  </a:srgbClr>
                </a:solidFill>
                <a:latin typeface="ＭＳ Ｐ明朝" panose="02020600040205080304" pitchFamily="18" charset="-128"/>
                <a:ea typeface="ＭＳ Ｐ明朝" panose="02020600040205080304" pitchFamily="18" charset="-128"/>
              </a:rPr>
              <a:t>②　事業の実現性、持続性の観点から、より詳細な事業計画について県と協議を行い、協議が整い次第、基本合意の締結。</a:t>
            </a:r>
            <a:endParaRPr lang="en-US" altLang="ja-JP" sz="1600" b="1" dirty="0">
              <a:solidFill>
                <a:srgbClr val="4BACC6">
                  <a:lumMod val="75000"/>
                </a:srgbClr>
              </a:solidFill>
              <a:latin typeface="ＭＳ Ｐ明朝" panose="02020600040205080304" pitchFamily="18" charset="-128"/>
              <a:ea typeface="ＭＳ Ｐ明朝" panose="02020600040205080304" pitchFamily="18" charset="-128"/>
            </a:endParaRPr>
          </a:p>
        </p:txBody>
      </p:sp>
      <p:sp>
        <p:nvSpPr>
          <p:cNvPr id="2" name="テキスト ボックス 1">
            <a:extLst>
              <a:ext uri="{FF2B5EF4-FFF2-40B4-BE49-F238E27FC236}">
                <a16:creationId xmlns:a16="http://schemas.microsoft.com/office/drawing/2014/main" id="{DA2EC43C-3D27-0994-DE60-8ADC4C8A00F2}"/>
              </a:ext>
            </a:extLst>
          </p:cNvPr>
          <p:cNvSpPr txBox="1"/>
          <p:nvPr/>
        </p:nvSpPr>
        <p:spPr>
          <a:xfrm>
            <a:off x="522770" y="3011499"/>
            <a:ext cx="3007233" cy="307777"/>
          </a:xfrm>
          <a:prstGeom prst="rect">
            <a:avLst/>
          </a:prstGeom>
          <a:noFill/>
          <a:ln w="9525" algn="ctr">
            <a:noFill/>
            <a:miter lim="800000"/>
            <a:headEnd/>
            <a:tailEnd/>
          </a:ln>
          <a:effectLst/>
        </p:spPr>
        <p:txBody>
          <a:bodyPr vert="horz" wrap="none" lIns="0" tIns="0" rIns="0" bIns="0" numCol="1" rtlCol="0" anchor="t" anchorCtr="0" compatLnSpc="1">
            <a:prstTxWarp prst="textNoShape">
              <a:avLst/>
            </a:prstTxWarp>
            <a:spAutoFit/>
          </a:bodyPr>
          <a:lstStyle/>
          <a:p>
            <a:pPr marL="177800" indent="-177800" fontAlgn="base" hangingPunct="0">
              <a:spcAft>
                <a:spcPct val="0"/>
              </a:spcAft>
              <a:buSzPct val="100000"/>
            </a:pPr>
            <a:r>
              <a:rPr kumimoji="0" lang="ja-JP" altLang="en-US" b="1" i="0" u="sng" dirty="0">
                <a:solidFill>
                  <a:srgbClr val="000000"/>
                </a:solidFill>
                <a:latin typeface="HGP明朝E"/>
                <a:ea typeface="HGP明朝E"/>
                <a:cs typeface="Arial" charset="0"/>
              </a:rPr>
              <a:t>①　募集から選定まで　</a:t>
            </a:r>
            <a:r>
              <a:rPr kumimoji="0" lang="en-US" altLang="ja-JP" sz="2000" b="1" u="sng" dirty="0">
                <a:solidFill>
                  <a:srgbClr val="000000"/>
                </a:solidFill>
                <a:latin typeface="HGP明朝E"/>
                <a:ea typeface="HGP明朝E"/>
                <a:cs typeface="Arial" charset="0"/>
              </a:rPr>
              <a:t>10</a:t>
            </a:r>
            <a:r>
              <a:rPr kumimoji="0" lang="ja-JP" altLang="en-US" sz="2000" b="1" u="sng" dirty="0">
                <a:solidFill>
                  <a:srgbClr val="000000"/>
                </a:solidFill>
                <a:latin typeface="HGP明朝E"/>
                <a:ea typeface="HGP明朝E"/>
                <a:cs typeface="Arial" charset="0"/>
              </a:rPr>
              <a:t>ヶ月</a:t>
            </a:r>
            <a:endParaRPr kumimoji="0" lang="ja-JP" altLang="en-US" sz="1600" b="1" i="0" u="sng" dirty="0">
              <a:solidFill>
                <a:srgbClr val="000000"/>
              </a:solidFill>
              <a:latin typeface="HGP明朝E"/>
              <a:ea typeface="HGP明朝E"/>
              <a:cs typeface="Arial" charset="0"/>
            </a:endParaRPr>
          </a:p>
        </p:txBody>
      </p:sp>
      <p:pic>
        <p:nvPicPr>
          <p:cNvPr id="1026" name="図 17">
            <a:extLst>
              <a:ext uri="{FF2B5EF4-FFF2-40B4-BE49-F238E27FC236}">
                <a16:creationId xmlns:a16="http://schemas.microsoft.com/office/drawing/2014/main" id="{FFCD9973-FB71-B348-223C-DDDC05CED9C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88" t="22261" r="2571"/>
          <a:stretch/>
        </p:blipFill>
        <p:spPr bwMode="auto">
          <a:xfrm>
            <a:off x="212655" y="3728888"/>
            <a:ext cx="8675697" cy="2978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テキスト ボックス 4">
            <a:extLst>
              <a:ext uri="{FF2B5EF4-FFF2-40B4-BE49-F238E27FC236}">
                <a16:creationId xmlns:a16="http://schemas.microsoft.com/office/drawing/2014/main" id="{2185ED80-02A7-C9BE-1A45-7568D70E838B}"/>
              </a:ext>
            </a:extLst>
          </p:cNvPr>
          <p:cNvSpPr txBox="1"/>
          <p:nvPr/>
        </p:nvSpPr>
        <p:spPr>
          <a:xfrm>
            <a:off x="531896" y="3975098"/>
            <a:ext cx="772647" cy="861774"/>
          </a:xfrm>
          <a:prstGeom prst="rect">
            <a:avLst/>
          </a:prstGeom>
          <a:noFill/>
          <a:ln w="9525" algn="ctr">
            <a:noFill/>
            <a:miter lim="800000"/>
            <a:headEnd/>
            <a:tailEnd/>
          </a:ln>
          <a:effectLst/>
        </p:spPr>
        <p:txBody>
          <a:bodyPr vert="horz" wrap="none" lIns="0" tIns="0" rIns="0" bIns="0" numCol="1" rtlCol="0" anchor="t" anchorCtr="0" compatLnSpc="1">
            <a:prstTxWarp prst="textNoShape">
              <a:avLst/>
            </a:prstTxWarp>
            <a:spAutoFit/>
          </a:bodyPr>
          <a:lstStyle/>
          <a:p>
            <a:pPr marL="177800" indent="-177800" fontAlgn="base" hangingPunct="0">
              <a:spcAft>
                <a:spcPct val="0"/>
              </a:spcAft>
              <a:buSzPct val="100000"/>
            </a:pPr>
            <a:r>
              <a:rPr kumimoji="0" lang="ja-JP" altLang="en-US" sz="1400" dirty="0">
                <a:solidFill>
                  <a:srgbClr val="000000"/>
                </a:solidFill>
                <a:latin typeface="HGP明朝E"/>
                <a:ea typeface="HGP明朝E"/>
                <a:cs typeface="Arial" charset="0"/>
              </a:rPr>
              <a:t>募集期間</a:t>
            </a:r>
            <a:endParaRPr kumimoji="0" lang="en-US" altLang="ja-JP" sz="1400" dirty="0">
              <a:solidFill>
                <a:srgbClr val="000000"/>
              </a:solidFill>
              <a:latin typeface="HGP明朝E"/>
              <a:ea typeface="HGP明朝E"/>
              <a:cs typeface="Arial" charset="0"/>
            </a:endParaRPr>
          </a:p>
          <a:p>
            <a:pPr marL="177800" indent="-177800" fontAlgn="base" hangingPunct="0">
              <a:spcAft>
                <a:spcPct val="0"/>
              </a:spcAft>
              <a:buSzPct val="100000"/>
            </a:pPr>
            <a:r>
              <a:rPr kumimoji="0" lang="ja-JP" altLang="en-US" sz="1400" dirty="0">
                <a:solidFill>
                  <a:srgbClr val="000000"/>
                </a:solidFill>
                <a:latin typeface="HGP明朝E"/>
                <a:ea typeface="HGP明朝E"/>
                <a:cs typeface="Arial" charset="0"/>
              </a:rPr>
              <a:t>８か月</a:t>
            </a:r>
            <a:endParaRPr kumimoji="0" lang="en-US" altLang="ja-JP" sz="1400" dirty="0">
              <a:solidFill>
                <a:srgbClr val="000000"/>
              </a:solidFill>
              <a:latin typeface="HGP明朝E"/>
              <a:ea typeface="HGP明朝E"/>
              <a:cs typeface="Arial" charset="0"/>
            </a:endParaRPr>
          </a:p>
          <a:p>
            <a:pPr marL="177800" indent="-177800" fontAlgn="base" hangingPunct="0">
              <a:spcAft>
                <a:spcPct val="0"/>
              </a:spcAft>
              <a:buSzPct val="100000"/>
            </a:pPr>
            <a:r>
              <a:rPr kumimoji="0" lang="en-US" altLang="ja-JP" sz="1400" b="0" i="0" dirty="0">
                <a:solidFill>
                  <a:srgbClr val="000000"/>
                </a:solidFill>
                <a:latin typeface="HGP明朝E"/>
                <a:ea typeface="HGP明朝E"/>
                <a:cs typeface="Arial" charset="0"/>
              </a:rPr>
              <a:t>(</a:t>
            </a:r>
            <a:r>
              <a:rPr kumimoji="0" lang="ja-JP" altLang="en-US" sz="1400" b="0" i="0" dirty="0">
                <a:solidFill>
                  <a:srgbClr val="000000"/>
                </a:solidFill>
                <a:latin typeface="HGP明朝E"/>
                <a:ea typeface="HGP明朝E"/>
                <a:cs typeface="Arial" charset="0"/>
              </a:rPr>
              <a:t>周知期間</a:t>
            </a:r>
            <a:endParaRPr kumimoji="0" lang="en-US" altLang="ja-JP" sz="1400" b="0" i="0" dirty="0">
              <a:solidFill>
                <a:srgbClr val="000000"/>
              </a:solidFill>
              <a:latin typeface="HGP明朝E"/>
              <a:ea typeface="HGP明朝E"/>
              <a:cs typeface="Arial" charset="0"/>
            </a:endParaRPr>
          </a:p>
          <a:p>
            <a:pPr marL="177800" indent="-177800" fontAlgn="base" hangingPunct="0">
              <a:spcAft>
                <a:spcPct val="0"/>
              </a:spcAft>
              <a:buSzPct val="100000"/>
            </a:pPr>
            <a:r>
              <a:rPr kumimoji="0" lang="ja-JP" altLang="en-US" sz="1400" b="0" i="0" dirty="0">
                <a:solidFill>
                  <a:srgbClr val="000000"/>
                </a:solidFill>
                <a:latin typeface="HGP明朝E"/>
                <a:ea typeface="HGP明朝E"/>
                <a:cs typeface="Arial" charset="0"/>
              </a:rPr>
              <a:t>含む</a:t>
            </a:r>
            <a:r>
              <a:rPr kumimoji="0" lang="en-US" altLang="ja-JP" sz="1400" b="0" i="0" dirty="0">
                <a:solidFill>
                  <a:srgbClr val="000000"/>
                </a:solidFill>
                <a:latin typeface="HGP明朝E"/>
                <a:ea typeface="HGP明朝E"/>
                <a:cs typeface="Arial" charset="0"/>
              </a:rPr>
              <a:t>)</a:t>
            </a:r>
            <a:endParaRPr kumimoji="0" lang="ja-JP" altLang="en-US" sz="1400" b="0" i="0" dirty="0">
              <a:solidFill>
                <a:srgbClr val="000000"/>
              </a:solidFill>
              <a:latin typeface="HGP明朝E"/>
              <a:ea typeface="HGP明朝E"/>
              <a:cs typeface="Arial" charset="0"/>
            </a:endParaRPr>
          </a:p>
        </p:txBody>
      </p:sp>
      <p:sp>
        <p:nvSpPr>
          <p:cNvPr id="6" name="テキスト ボックス 5">
            <a:extLst>
              <a:ext uri="{FF2B5EF4-FFF2-40B4-BE49-F238E27FC236}">
                <a16:creationId xmlns:a16="http://schemas.microsoft.com/office/drawing/2014/main" id="{D9A54C7F-A952-18D7-0465-E4C1B8A9208B}"/>
              </a:ext>
            </a:extLst>
          </p:cNvPr>
          <p:cNvSpPr txBox="1"/>
          <p:nvPr/>
        </p:nvSpPr>
        <p:spPr>
          <a:xfrm>
            <a:off x="1859953" y="4005449"/>
            <a:ext cx="718145" cy="430887"/>
          </a:xfrm>
          <a:prstGeom prst="rect">
            <a:avLst/>
          </a:prstGeom>
          <a:noFill/>
          <a:ln w="9525" algn="ctr">
            <a:noFill/>
            <a:miter lim="800000"/>
            <a:headEnd/>
            <a:tailEnd/>
          </a:ln>
          <a:effectLst/>
        </p:spPr>
        <p:txBody>
          <a:bodyPr vert="horz" wrap="none" lIns="0" tIns="0" rIns="0" bIns="0" numCol="1" rtlCol="0" anchor="t" anchorCtr="0" compatLnSpc="1">
            <a:prstTxWarp prst="textNoShape">
              <a:avLst/>
            </a:prstTxWarp>
            <a:spAutoFit/>
          </a:bodyPr>
          <a:lstStyle/>
          <a:p>
            <a:pPr marL="177800" indent="-177800" fontAlgn="base" hangingPunct="0">
              <a:spcAft>
                <a:spcPct val="0"/>
              </a:spcAft>
              <a:buSzPct val="100000"/>
            </a:pPr>
            <a:r>
              <a:rPr kumimoji="0" lang="ja-JP" altLang="en-US" sz="1400" dirty="0">
                <a:solidFill>
                  <a:srgbClr val="000000"/>
                </a:solidFill>
                <a:latin typeface="HGP明朝E"/>
                <a:ea typeface="HGP明朝E"/>
                <a:cs typeface="Arial" charset="0"/>
              </a:rPr>
              <a:t>選定期間</a:t>
            </a:r>
            <a:endParaRPr kumimoji="0" lang="en-US" altLang="ja-JP" sz="1400" dirty="0">
              <a:solidFill>
                <a:srgbClr val="000000"/>
              </a:solidFill>
              <a:latin typeface="HGP明朝E"/>
              <a:ea typeface="HGP明朝E"/>
              <a:cs typeface="Arial" charset="0"/>
            </a:endParaRPr>
          </a:p>
          <a:p>
            <a:pPr marL="177800" indent="-177800" fontAlgn="base" hangingPunct="0">
              <a:spcAft>
                <a:spcPct val="0"/>
              </a:spcAft>
              <a:buSzPct val="100000"/>
            </a:pPr>
            <a:r>
              <a:rPr kumimoji="0" lang="ja-JP" altLang="en-US" sz="1400" dirty="0">
                <a:solidFill>
                  <a:srgbClr val="000000"/>
                </a:solidFill>
                <a:latin typeface="HGP明朝E"/>
                <a:ea typeface="HGP明朝E"/>
                <a:cs typeface="Arial" charset="0"/>
              </a:rPr>
              <a:t>２か月</a:t>
            </a:r>
            <a:endParaRPr kumimoji="0" lang="ja-JP" altLang="en-US" sz="1400" b="0" i="0" dirty="0">
              <a:solidFill>
                <a:srgbClr val="000000"/>
              </a:solidFill>
              <a:latin typeface="HGP明朝E"/>
              <a:ea typeface="HGP明朝E"/>
              <a:cs typeface="Arial" charset="0"/>
            </a:endParaRPr>
          </a:p>
        </p:txBody>
      </p:sp>
      <p:sp>
        <p:nvSpPr>
          <p:cNvPr id="8" name="テキスト ボックス 7">
            <a:extLst>
              <a:ext uri="{FF2B5EF4-FFF2-40B4-BE49-F238E27FC236}">
                <a16:creationId xmlns:a16="http://schemas.microsoft.com/office/drawing/2014/main" id="{A62F302D-86EF-1D2A-0340-27F46BA7151B}"/>
              </a:ext>
            </a:extLst>
          </p:cNvPr>
          <p:cNvSpPr txBox="1"/>
          <p:nvPr/>
        </p:nvSpPr>
        <p:spPr>
          <a:xfrm>
            <a:off x="5047110" y="2934447"/>
            <a:ext cx="2725105" cy="523220"/>
          </a:xfrm>
          <a:prstGeom prst="rect">
            <a:avLst/>
          </a:prstGeom>
          <a:noFill/>
          <a:ln w="9525" algn="ctr">
            <a:noFill/>
            <a:miter lim="800000"/>
            <a:headEnd/>
            <a:tailEnd/>
          </a:ln>
          <a:effectLst/>
        </p:spPr>
        <p:txBody>
          <a:bodyPr vert="horz" wrap="none" lIns="0" tIns="0" rIns="0" bIns="0" numCol="1" rtlCol="0" anchor="t" anchorCtr="0" compatLnSpc="1">
            <a:prstTxWarp prst="textNoShape">
              <a:avLst/>
            </a:prstTxWarp>
            <a:spAutoFit/>
          </a:bodyPr>
          <a:lstStyle/>
          <a:p>
            <a:pPr marL="177800" indent="-177800" fontAlgn="base" hangingPunct="0">
              <a:spcAft>
                <a:spcPct val="0"/>
              </a:spcAft>
              <a:buSzPct val="100000"/>
            </a:pPr>
            <a:r>
              <a:rPr kumimoji="0" lang="ja-JP" altLang="en-US" b="1" u="sng" dirty="0">
                <a:solidFill>
                  <a:srgbClr val="000000"/>
                </a:solidFill>
                <a:latin typeface="HGP明朝E"/>
                <a:ea typeface="HGP明朝E"/>
                <a:cs typeface="Arial" charset="0"/>
              </a:rPr>
              <a:t>②　条件協議期間</a:t>
            </a:r>
            <a:endParaRPr kumimoji="0" lang="en-US" altLang="ja-JP" b="1" u="sng" dirty="0">
              <a:solidFill>
                <a:srgbClr val="000000"/>
              </a:solidFill>
              <a:latin typeface="HGP明朝E"/>
              <a:ea typeface="HGP明朝E"/>
              <a:cs typeface="Arial" charset="0"/>
            </a:endParaRPr>
          </a:p>
          <a:p>
            <a:pPr marL="177800" indent="-177800" fontAlgn="base" hangingPunct="0">
              <a:spcAft>
                <a:spcPct val="0"/>
              </a:spcAft>
              <a:buSzPct val="100000"/>
            </a:pPr>
            <a:r>
              <a:rPr kumimoji="0" lang="ja-JP" altLang="en-US" sz="1600" dirty="0">
                <a:solidFill>
                  <a:srgbClr val="000000"/>
                </a:solidFill>
                <a:latin typeface="HGP明朝E"/>
                <a:ea typeface="HGP明朝E"/>
                <a:cs typeface="Arial" charset="0"/>
              </a:rPr>
              <a:t>　　</a:t>
            </a:r>
            <a:r>
              <a:rPr kumimoji="0" lang="en-US" altLang="ja-JP" sz="1600" dirty="0">
                <a:solidFill>
                  <a:srgbClr val="000000"/>
                </a:solidFill>
                <a:latin typeface="HGP明朝E"/>
                <a:ea typeface="HGP明朝E"/>
                <a:cs typeface="Arial" charset="0"/>
              </a:rPr>
              <a:t>※</a:t>
            </a:r>
            <a:r>
              <a:rPr kumimoji="0" lang="ja-JP" altLang="en-US" sz="1600" dirty="0">
                <a:solidFill>
                  <a:srgbClr val="000000"/>
                </a:solidFill>
                <a:latin typeface="HGP明朝E"/>
                <a:ea typeface="HGP明朝E"/>
                <a:cs typeface="Arial" charset="0"/>
              </a:rPr>
              <a:t>協議終了時点で基本合意</a:t>
            </a:r>
            <a:endParaRPr kumimoji="0" lang="en-US" altLang="ja-JP" sz="1600" dirty="0">
              <a:solidFill>
                <a:srgbClr val="000000"/>
              </a:solidFill>
              <a:latin typeface="HGP明朝E"/>
              <a:ea typeface="HGP明朝E"/>
              <a:cs typeface="Arial" charset="0"/>
            </a:endParaRPr>
          </a:p>
        </p:txBody>
      </p:sp>
      <p:sp>
        <p:nvSpPr>
          <p:cNvPr id="9" name="矢印: 左右 8">
            <a:extLst>
              <a:ext uri="{FF2B5EF4-FFF2-40B4-BE49-F238E27FC236}">
                <a16:creationId xmlns:a16="http://schemas.microsoft.com/office/drawing/2014/main" id="{33FD53E3-C119-F2C5-E91B-81BEC3134218}"/>
              </a:ext>
            </a:extLst>
          </p:cNvPr>
          <p:cNvSpPr/>
          <p:nvPr/>
        </p:nvSpPr>
        <p:spPr>
          <a:xfrm>
            <a:off x="317155" y="3519774"/>
            <a:ext cx="3270776" cy="278059"/>
          </a:xfrm>
          <a:prstGeom prst="leftRightArrow">
            <a:avLst/>
          </a:prstGeom>
          <a:ln w="25400">
            <a:solidFill>
              <a:srgbClr val="00B050"/>
            </a:solidFill>
          </a:ln>
        </p:spPr>
        <p:style>
          <a:lnRef idx="1">
            <a:schemeClr val="dk1"/>
          </a:lnRef>
          <a:fillRef idx="0">
            <a:schemeClr val="dk1"/>
          </a:fillRef>
          <a:effectRef idx="0">
            <a:schemeClr val="dk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a:p>
        </p:txBody>
      </p:sp>
      <p:sp>
        <p:nvSpPr>
          <p:cNvPr id="12" name="矢印: 左右 11">
            <a:extLst>
              <a:ext uri="{FF2B5EF4-FFF2-40B4-BE49-F238E27FC236}">
                <a16:creationId xmlns:a16="http://schemas.microsoft.com/office/drawing/2014/main" id="{4B51A8D4-AAD5-02A5-D6A3-F8B2C1C0CCE9}"/>
              </a:ext>
            </a:extLst>
          </p:cNvPr>
          <p:cNvSpPr/>
          <p:nvPr/>
        </p:nvSpPr>
        <p:spPr>
          <a:xfrm>
            <a:off x="3657602" y="3515786"/>
            <a:ext cx="5068333" cy="278059"/>
          </a:xfrm>
          <a:prstGeom prst="leftRightArrow">
            <a:avLst/>
          </a:prstGeom>
          <a:ln w="25400">
            <a:solidFill>
              <a:srgbClr val="FFC000"/>
            </a:solidFill>
          </a:ln>
        </p:spPr>
        <p:style>
          <a:lnRef idx="1">
            <a:schemeClr val="dk1"/>
          </a:lnRef>
          <a:fillRef idx="0">
            <a:schemeClr val="dk1"/>
          </a:fillRef>
          <a:effectRef idx="0">
            <a:schemeClr val="dk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a:p>
        </p:txBody>
      </p:sp>
      <p:sp>
        <p:nvSpPr>
          <p:cNvPr id="4" name="四角形: 角を丸くする 3">
            <a:extLst>
              <a:ext uri="{FF2B5EF4-FFF2-40B4-BE49-F238E27FC236}">
                <a16:creationId xmlns:a16="http://schemas.microsoft.com/office/drawing/2014/main" id="{393C8724-3CCB-6038-A0DC-481720F039E8}"/>
              </a:ext>
            </a:extLst>
          </p:cNvPr>
          <p:cNvSpPr/>
          <p:nvPr/>
        </p:nvSpPr>
        <p:spPr>
          <a:xfrm>
            <a:off x="336599" y="2921747"/>
            <a:ext cx="3270776" cy="525305"/>
          </a:xfrm>
          <a:prstGeom prst="roundRect">
            <a:avLst/>
          </a:prstGeom>
          <a:ln w="25400">
            <a:solidFill>
              <a:srgbClr val="FF0000"/>
            </a:solidFill>
          </a:ln>
        </p:spPr>
        <p:style>
          <a:lnRef idx="1">
            <a:schemeClr val="dk1"/>
          </a:lnRef>
          <a:fillRef idx="0">
            <a:schemeClr val="dk1"/>
          </a:fillRef>
          <a:effectRef idx="0">
            <a:schemeClr val="dk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a:p>
        </p:txBody>
      </p:sp>
      <p:sp>
        <p:nvSpPr>
          <p:cNvPr id="11" name="四角形: 角を丸くする 10">
            <a:extLst>
              <a:ext uri="{FF2B5EF4-FFF2-40B4-BE49-F238E27FC236}">
                <a16:creationId xmlns:a16="http://schemas.microsoft.com/office/drawing/2014/main" id="{4ECFE425-0188-05B9-EE46-DB51764E3764}"/>
              </a:ext>
            </a:extLst>
          </p:cNvPr>
          <p:cNvSpPr/>
          <p:nvPr/>
        </p:nvSpPr>
        <p:spPr>
          <a:xfrm>
            <a:off x="3716174" y="2921747"/>
            <a:ext cx="5009761" cy="525305"/>
          </a:xfrm>
          <a:prstGeom prst="roundRect">
            <a:avLst/>
          </a:prstGeom>
          <a:ln w="25400">
            <a:solidFill>
              <a:srgbClr val="FF0000"/>
            </a:solidFill>
          </a:ln>
        </p:spPr>
        <p:style>
          <a:lnRef idx="1">
            <a:schemeClr val="dk1"/>
          </a:lnRef>
          <a:fillRef idx="0">
            <a:schemeClr val="dk1"/>
          </a:fillRef>
          <a:effectRef idx="0">
            <a:schemeClr val="dk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a:p>
        </p:txBody>
      </p:sp>
    </p:spTree>
    <p:extLst>
      <p:ext uri="{BB962C8B-B14F-4D97-AF65-F5344CB8AC3E}">
        <p14:creationId xmlns:p14="http://schemas.microsoft.com/office/powerpoint/2010/main" val="30154926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タイトル 1"/>
          <p:cNvSpPr txBox="1">
            <a:spLocks/>
          </p:cNvSpPr>
          <p:nvPr/>
        </p:nvSpPr>
        <p:spPr>
          <a:xfrm>
            <a:off x="395536" y="235585"/>
            <a:ext cx="8064500" cy="45711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lvl1pPr algn="l" defTabSz="914400" rtl="0" eaLnBrk="1" latinLnBrk="0" hangingPunct="1">
              <a:lnSpc>
                <a:spcPct val="100000"/>
              </a:lnSpc>
              <a:spcBef>
                <a:spcPct val="0"/>
              </a:spcBef>
              <a:buNone/>
              <a:defRPr kumimoji="1" lang="en-GB" altLang="ja-JP" sz="2400" b="1" i="1" kern="1200" baseline="0" noProof="0">
                <a:solidFill>
                  <a:schemeClr val="tx1"/>
                </a:solidFill>
                <a:latin typeface="+mj-lt"/>
                <a:ea typeface="+mj-ea"/>
                <a:cs typeface="+mj-cs"/>
              </a:defRPr>
            </a:lvl1pPr>
          </a:lstStyle>
          <a:p>
            <a:pPr>
              <a:defRPr/>
            </a:pPr>
            <a:r>
              <a:rPr lang="ja-JP" altLang="en-US" sz="2000" dirty="0">
                <a:solidFill>
                  <a:schemeClr val="tx2">
                    <a:lumMod val="75000"/>
                  </a:schemeClr>
                </a:solidFill>
                <a:latin typeface="HGP明朝E"/>
                <a:ea typeface="HGP明朝E"/>
              </a:rPr>
              <a:t>県が想定している</a:t>
            </a:r>
            <a:r>
              <a:rPr lang="ja-JP" altLang="en-US" sz="1800" dirty="0">
                <a:solidFill>
                  <a:schemeClr val="tx2">
                    <a:lumMod val="75000"/>
                  </a:schemeClr>
                </a:solidFill>
                <a:latin typeface="HGP明朝E"/>
                <a:ea typeface="HGP明朝E"/>
              </a:rPr>
              <a:t>イメージ</a:t>
            </a:r>
            <a:endParaRPr lang="en-US" altLang="ja-JP" sz="2000" dirty="0">
              <a:solidFill>
                <a:schemeClr val="tx2">
                  <a:lumMod val="75000"/>
                </a:schemeClr>
              </a:solidFill>
              <a:latin typeface="HGP明朝E"/>
              <a:ea typeface="HGP明朝E"/>
            </a:endParaRPr>
          </a:p>
        </p:txBody>
      </p:sp>
      <p:sp>
        <p:nvSpPr>
          <p:cNvPr id="16" name="スライド番号プレースホルダー 1"/>
          <p:cNvSpPr txBox="1">
            <a:spLocks/>
          </p:cNvSpPr>
          <p:nvPr/>
        </p:nvSpPr>
        <p:spPr>
          <a:xfrm>
            <a:off x="8725936" y="6557888"/>
            <a:ext cx="221214" cy="153888"/>
          </a:xfrm>
          <a:prstGeom prst="rect">
            <a:avLst/>
          </a:prstGeom>
        </p:spPr>
        <p:txBody>
          <a:bodyPr vert="horz" wrap="none" lIns="0" tIns="0" rIns="0" bIns="0" rtlCol="0" anchor="b" anchorCtr="0">
            <a:spAutoFit/>
          </a:bodyPr>
          <a:lstStyle>
            <a:defPPr>
              <a:defRPr lang="ja-JP"/>
            </a:defPPr>
            <a:lvl1pPr marL="0" algn="r" defTabSz="914400" rtl="0" eaLnBrk="1" latinLnBrk="0" hangingPunct="1">
              <a:defRPr kumimoji="1" lang="en-US" altLang="ja-JP" sz="1000" kern="1200" smtClean="0">
                <a:solidFill>
                  <a:schemeClr val="tx1"/>
                </a:solidFill>
                <a:latin typeface="Arial" pitchFamily="34" charset="0"/>
                <a:ea typeface="+mn-ea"/>
                <a:cs typeface="Arial" pitchFamily="34" charset="0"/>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9EBD5762-3BDC-484D-9503-7EA6D5A9A8CE}" type="slidenum">
              <a:rPr lang="en-US" altLang="ja-JP" smtClean="0">
                <a:solidFill>
                  <a:srgbClr val="000000"/>
                </a:solidFill>
              </a:rPr>
              <a:pPr/>
              <a:t>7</a:t>
            </a:fld>
            <a:endParaRPr lang="ja-JP" altLang="en-US" dirty="0">
              <a:solidFill>
                <a:srgbClr val="000000"/>
              </a:solidFill>
            </a:endParaRPr>
          </a:p>
        </p:txBody>
      </p:sp>
      <p:sp>
        <p:nvSpPr>
          <p:cNvPr id="17" name="正方形/長方形 16"/>
          <p:cNvSpPr/>
          <p:nvPr/>
        </p:nvSpPr>
        <p:spPr>
          <a:xfrm>
            <a:off x="6804084" y="6529654"/>
            <a:ext cx="2250250" cy="200055"/>
          </a:xfrm>
          <a:prstGeom prst="rect">
            <a:avLst/>
          </a:prstGeom>
        </p:spPr>
        <p:txBody>
          <a:bodyPr wrap="square">
            <a:spAutoFit/>
          </a:bodyPr>
          <a:lstStyle/>
          <a:p>
            <a:r>
              <a:rPr lang="en-US" altLang="ja-JP" sz="700" dirty="0">
                <a:latin typeface="ＭＳ Ｐ明朝" panose="02020600040205080304" pitchFamily="18" charset="-128"/>
                <a:ea typeface="ＭＳ Ｐ明朝" panose="02020600040205080304" pitchFamily="18" charset="-128"/>
              </a:rPr>
              <a:t>	</a:t>
            </a:r>
          </a:p>
        </p:txBody>
      </p:sp>
      <p:sp>
        <p:nvSpPr>
          <p:cNvPr id="14" name="テキスト ボックス 13">
            <a:extLst>
              <a:ext uri="{FF2B5EF4-FFF2-40B4-BE49-F238E27FC236}">
                <a16:creationId xmlns:a16="http://schemas.microsoft.com/office/drawing/2014/main" id="{567E4E24-55A7-170B-5B5F-DFFE342311EE}"/>
              </a:ext>
            </a:extLst>
          </p:cNvPr>
          <p:cNvSpPr txBox="1"/>
          <p:nvPr/>
        </p:nvSpPr>
        <p:spPr>
          <a:xfrm>
            <a:off x="791148" y="816412"/>
            <a:ext cx="8263186" cy="4985980"/>
          </a:xfrm>
          <a:prstGeom prst="rect">
            <a:avLst/>
          </a:prstGeom>
          <a:noFill/>
          <a:ln w="9525" algn="ctr">
            <a:noFill/>
            <a:miter lim="800000"/>
            <a:headEnd/>
            <a:tailEnd/>
          </a:ln>
          <a:effectLst/>
        </p:spPr>
        <p:txBody>
          <a:bodyPr vert="horz" wrap="square" lIns="0" tIns="0" rIns="0" bIns="0" numCol="1" rtlCol="0" anchor="t" anchorCtr="0" compatLnSpc="1">
            <a:prstTxWarp prst="textNoShape">
              <a:avLst/>
            </a:prstTxWarp>
            <a:spAutoFit/>
          </a:bodyPr>
          <a:lstStyle/>
          <a:p>
            <a:pPr marL="177800" indent="-177800" fontAlgn="base" hangingPunct="0">
              <a:spcAft>
                <a:spcPct val="0"/>
              </a:spcAft>
              <a:buSzPct val="100000"/>
            </a:pPr>
            <a:r>
              <a:rPr kumimoji="0" lang="ja-JP" altLang="en-US" sz="2400" b="1" i="0" dirty="0">
                <a:solidFill>
                  <a:srgbClr val="000000"/>
                </a:solidFill>
                <a:latin typeface="HGP明朝E"/>
                <a:ea typeface="HGP明朝E"/>
                <a:cs typeface="Arial" charset="0"/>
              </a:rPr>
              <a:t>想定される事例</a:t>
            </a:r>
            <a:endParaRPr kumimoji="0" lang="en-US" altLang="ja-JP" sz="2400" b="1" i="0" dirty="0">
              <a:solidFill>
                <a:srgbClr val="000000"/>
              </a:solidFill>
              <a:latin typeface="HGP明朝E"/>
              <a:ea typeface="HGP明朝E"/>
              <a:cs typeface="Arial" charset="0"/>
            </a:endParaRPr>
          </a:p>
          <a:p>
            <a:pPr marL="177800" indent="-177800" fontAlgn="base" hangingPunct="0">
              <a:spcAft>
                <a:spcPct val="0"/>
              </a:spcAft>
              <a:buSzPct val="100000"/>
            </a:pPr>
            <a:r>
              <a:rPr kumimoji="0" lang="ja-JP" altLang="en-US" sz="2000" b="1" dirty="0">
                <a:solidFill>
                  <a:srgbClr val="000000"/>
                </a:solidFill>
                <a:latin typeface="HGP明朝E"/>
                <a:ea typeface="HGP明朝E"/>
                <a:cs typeface="Arial" charset="0"/>
              </a:rPr>
              <a:t>　●行政財産（空港告示区域）</a:t>
            </a:r>
            <a:endParaRPr kumimoji="0" lang="en-US" altLang="ja-JP" sz="2000" b="1" dirty="0">
              <a:solidFill>
                <a:srgbClr val="000000"/>
              </a:solidFill>
              <a:latin typeface="HGP明朝E"/>
              <a:ea typeface="HGP明朝E"/>
              <a:cs typeface="Arial" charset="0"/>
            </a:endParaRPr>
          </a:p>
          <a:p>
            <a:pPr marL="177800" indent="-177800" fontAlgn="base" hangingPunct="0">
              <a:spcAft>
                <a:spcPct val="0"/>
              </a:spcAft>
              <a:buSzPct val="100000"/>
            </a:pPr>
            <a:r>
              <a:rPr kumimoji="0" lang="ja-JP" altLang="en-US" sz="2000" b="1" dirty="0">
                <a:solidFill>
                  <a:srgbClr val="000000"/>
                </a:solidFill>
                <a:latin typeface="HGP明朝E"/>
                <a:ea typeface="HGP明朝E"/>
                <a:cs typeface="Arial" charset="0"/>
              </a:rPr>
              <a:t>　　①　空港関連産業における、育成等事業</a:t>
            </a:r>
            <a:endParaRPr kumimoji="0" lang="en-US" altLang="ja-JP" sz="2000" b="1" dirty="0">
              <a:solidFill>
                <a:srgbClr val="000000"/>
              </a:solidFill>
              <a:latin typeface="HGP明朝E"/>
              <a:ea typeface="HGP明朝E"/>
              <a:cs typeface="Arial" charset="0"/>
            </a:endParaRPr>
          </a:p>
          <a:p>
            <a:pPr marL="177800" indent="-177800" fontAlgn="base" hangingPunct="0">
              <a:spcAft>
                <a:spcPct val="0"/>
              </a:spcAft>
              <a:buSzPct val="100000"/>
            </a:pPr>
            <a:r>
              <a:rPr kumimoji="0" lang="ja-JP" altLang="en-US" sz="2000" b="1" dirty="0">
                <a:solidFill>
                  <a:srgbClr val="000000"/>
                </a:solidFill>
                <a:latin typeface="HGP明朝E"/>
                <a:ea typeface="HGP明朝E"/>
                <a:cs typeface="Arial" charset="0"/>
              </a:rPr>
              <a:t>　　②　</a:t>
            </a:r>
            <a:r>
              <a:rPr kumimoji="0" lang="en-US" altLang="ja-JP" sz="2000" b="1" dirty="0">
                <a:solidFill>
                  <a:srgbClr val="000000"/>
                </a:solidFill>
                <a:latin typeface="HGP明朝E"/>
                <a:ea typeface="HGP明朝E"/>
                <a:cs typeface="Arial" charset="0"/>
              </a:rPr>
              <a:t>SAF</a:t>
            </a:r>
            <a:r>
              <a:rPr kumimoji="0" lang="ja-JP" altLang="en-US" sz="2000" b="1" dirty="0">
                <a:solidFill>
                  <a:srgbClr val="000000"/>
                </a:solidFill>
                <a:latin typeface="HGP明朝E"/>
                <a:ea typeface="HGP明朝E"/>
                <a:cs typeface="Arial" charset="0"/>
              </a:rPr>
              <a:t>拠点関連事業</a:t>
            </a:r>
            <a:endParaRPr kumimoji="0" lang="en-US" altLang="ja-JP" sz="2000" b="1" dirty="0">
              <a:solidFill>
                <a:srgbClr val="000000"/>
              </a:solidFill>
              <a:latin typeface="HGP明朝E"/>
              <a:ea typeface="HGP明朝E"/>
              <a:cs typeface="Arial" charset="0"/>
            </a:endParaRPr>
          </a:p>
          <a:p>
            <a:pPr marL="177800" indent="-177800" fontAlgn="base" hangingPunct="0">
              <a:spcAft>
                <a:spcPct val="0"/>
              </a:spcAft>
              <a:buSzPct val="100000"/>
            </a:pPr>
            <a:r>
              <a:rPr kumimoji="0" lang="ja-JP" altLang="en-US" sz="2000" b="1" dirty="0">
                <a:solidFill>
                  <a:srgbClr val="000000"/>
                </a:solidFill>
                <a:latin typeface="HGP明朝E"/>
                <a:ea typeface="HGP明朝E"/>
                <a:cs typeface="Arial" charset="0"/>
              </a:rPr>
              <a:t>　　③　低軌道衛星関連における拠点事業 </a:t>
            </a:r>
            <a:endParaRPr kumimoji="0" lang="en-US" altLang="ja-JP" sz="2000" b="1" dirty="0">
              <a:solidFill>
                <a:srgbClr val="000000"/>
              </a:solidFill>
              <a:latin typeface="HGP明朝E"/>
              <a:ea typeface="HGP明朝E"/>
              <a:cs typeface="Arial" charset="0"/>
            </a:endParaRPr>
          </a:p>
          <a:p>
            <a:pPr marL="177800" indent="-177800" fontAlgn="base" hangingPunct="0">
              <a:spcAft>
                <a:spcPct val="0"/>
              </a:spcAft>
              <a:buSzPct val="100000"/>
            </a:pPr>
            <a:r>
              <a:rPr kumimoji="0" lang="ja-JP" altLang="en-US" sz="2000" b="1" dirty="0">
                <a:solidFill>
                  <a:srgbClr val="000000"/>
                </a:solidFill>
                <a:latin typeface="HGP明朝E"/>
                <a:ea typeface="HGP明朝E"/>
                <a:cs typeface="Arial" charset="0"/>
              </a:rPr>
              <a:t>　　④　宇宙関連事業 </a:t>
            </a:r>
            <a:endParaRPr kumimoji="0" lang="en-US" altLang="ja-JP" sz="2000" b="1" dirty="0">
              <a:solidFill>
                <a:srgbClr val="000000"/>
              </a:solidFill>
              <a:latin typeface="HGP明朝E"/>
              <a:ea typeface="HGP明朝E"/>
              <a:cs typeface="Arial" charset="0"/>
            </a:endParaRPr>
          </a:p>
          <a:p>
            <a:pPr marL="177800" indent="-177800" fontAlgn="base" hangingPunct="0">
              <a:spcAft>
                <a:spcPct val="0"/>
              </a:spcAft>
              <a:buSzPct val="100000"/>
            </a:pPr>
            <a:endParaRPr kumimoji="0" lang="en-US" altLang="ja-JP" sz="2000" b="1" dirty="0">
              <a:solidFill>
                <a:srgbClr val="000000"/>
              </a:solidFill>
              <a:latin typeface="HGP明朝E"/>
              <a:ea typeface="HGP明朝E"/>
              <a:cs typeface="Arial" charset="0"/>
            </a:endParaRPr>
          </a:p>
          <a:p>
            <a:pPr marL="177800" indent="-177800" fontAlgn="base" hangingPunct="0">
              <a:spcAft>
                <a:spcPct val="0"/>
              </a:spcAft>
              <a:buSzPct val="100000"/>
            </a:pPr>
            <a:r>
              <a:rPr kumimoji="0" lang="ja-JP" altLang="en-US" sz="2000" b="1" dirty="0">
                <a:solidFill>
                  <a:srgbClr val="000000"/>
                </a:solidFill>
                <a:latin typeface="HGP明朝E"/>
                <a:ea typeface="HGP明朝E"/>
                <a:cs typeface="Arial" charset="0"/>
              </a:rPr>
              <a:t>　●普通財産</a:t>
            </a:r>
            <a:endParaRPr kumimoji="0" lang="en-US" altLang="ja-JP" sz="2000" b="1" dirty="0">
              <a:solidFill>
                <a:srgbClr val="000000"/>
              </a:solidFill>
              <a:latin typeface="HGP明朝E"/>
              <a:ea typeface="HGP明朝E"/>
              <a:cs typeface="Arial" charset="0"/>
            </a:endParaRPr>
          </a:p>
          <a:p>
            <a:pPr marL="177800" indent="-177800" fontAlgn="base" hangingPunct="0">
              <a:spcAft>
                <a:spcPct val="0"/>
              </a:spcAft>
              <a:buSzPct val="100000"/>
            </a:pPr>
            <a:r>
              <a:rPr kumimoji="0" lang="ja-JP" altLang="en-US" sz="2000" b="1" i="0" dirty="0">
                <a:solidFill>
                  <a:srgbClr val="000000"/>
                </a:solidFill>
                <a:latin typeface="HGP明朝E"/>
                <a:ea typeface="HGP明朝E"/>
                <a:cs typeface="Arial" charset="0"/>
              </a:rPr>
              <a:t>　　①　低層</a:t>
            </a:r>
            <a:r>
              <a:rPr kumimoji="0" lang="ja-JP" altLang="en-US" sz="1200" b="1" i="0" dirty="0">
                <a:solidFill>
                  <a:srgbClr val="000000"/>
                </a:solidFill>
                <a:latin typeface="HGP明朝E"/>
                <a:ea typeface="HGP明朝E"/>
                <a:cs typeface="Arial" charset="0"/>
              </a:rPr>
              <a:t>（</a:t>
            </a:r>
            <a:r>
              <a:rPr kumimoji="0" lang="en-US" altLang="ja-JP" sz="1200" b="1" i="0" dirty="0">
                <a:solidFill>
                  <a:srgbClr val="000000"/>
                </a:solidFill>
                <a:latin typeface="HGP明朝E"/>
                <a:ea typeface="HGP明朝E"/>
                <a:cs typeface="Arial" charset="0"/>
              </a:rPr>
              <a:t>16</a:t>
            </a:r>
            <a:r>
              <a:rPr kumimoji="0" lang="ja-JP" altLang="en-US" sz="1200" b="1" i="0" dirty="0">
                <a:solidFill>
                  <a:srgbClr val="000000"/>
                </a:solidFill>
                <a:latin typeface="HGP明朝E"/>
                <a:ea typeface="HGP明朝E"/>
                <a:cs typeface="Arial" charset="0"/>
              </a:rPr>
              <a:t>ｍ未満）</a:t>
            </a:r>
            <a:r>
              <a:rPr kumimoji="0" lang="ja-JP" altLang="en-US" sz="2000" b="1" i="0" dirty="0">
                <a:solidFill>
                  <a:srgbClr val="000000"/>
                </a:solidFill>
                <a:latin typeface="HGP明朝E"/>
                <a:ea typeface="HGP明朝E"/>
                <a:cs typeface="Arial" charset="0"/>
              </a:rPr>
              <a:t>のホテル事業（富裕層向け）</a:t>
            </a:r>
            <a:endParaRPr kumimoji="0" lang="en-US" altLang="ja-JP" sz="2000" b="1" i="0" dirty="0">
              <a:solidFill>
                <a:srgbClr val="000000"/>
              </a:solidFill>
              <a:latin typeface="HGP明朝E"/>
              <a:ea typeface="HGP明朝E"/>
              <a:cs typeface="Arial" charset="0"/>
            </a:endParaRPr>
          </a:p>
          <a:p>
            <a:pPr marL="177800" indent="-177800" fontAlgn="base" hangingPunct="0">
              <a:spcAft>
                <a:spcPct val="0"/>
              </a:spcAft>
              <a:buSzPct val="100000"/>
            </a:pPr>
            <a:r>
              <a:rPr kumimoji="0" lang="ja-JP" altLang="en-US" sz="2000" b="1" dirty="0">
                <a:solidFill>
                  <a:srgbClr val="000000"/>
                </a:solidFill>
                <a:latin typeface="HGP明朝E"/>
                <a:ea typeface="HGP明朝E"/>
                <a:cs typeface="Arial" charset="0"/>
              </a:rPr>
              <a:t>　　②　</a:t>
            </a:r>
            <a:r>
              <a:rPr kumimoji="0" lang="en-US" altLang="ja-JP" sz="2000" b="1" dirty="0">
                <a:solidFill>
                  <a:srgbClr val="000000"/>
                </a:solidFill>
                <a:latin typeface="HGP明朝E"/>
                <a:ea typeface="HGP明朝E"/>
                <a:cs typeface="Arial" charset="0"/>
              </a:rPr>
              <a:t>SAF</a:t>
            </a:r>
            <a:r>
              <a:rPr kumimoji="0" lang="ja-JP" altLang="en-US" sz="2000" b="1" dirty="0">
                <a:solidFill>
                  <a:srgbClr val="000000"/>
                </a:solidFill>
                <a:latin typeface="HGP明朝E"/>
                <a:ea typeface="HGP明朝E"/>
                <a:cs typeface="Arial" charset="0"/>
              </a:rPr>
              <a:t>精製工場等事業</a:t>
            </a:r>
            <a:endParaRPr kumimoji="0" lang="en-US" altLang="ja-JP" sz="2000" b="1" dirty="0">
              <a:solidFill>
                <a:srgbClr val="000000"/>
              </a:solidFill>
              <a:latin typeface="HGP明朝E"/>
              <a:ea typeface="HGP明朝E"/>
              <a:cs typeface="Arial" charset="0"/>
            </a:endParaRPr>
          </a:p>
          <a:p>
            <a:pPr marL="177800" indent="-177800" fontAlgn="base" hangingPunct="0">
              <a:spcAft>
                <a:spcPct val="0"/>
              </a:spcAft>
              <a:buSzPct val="100000"/>
            </a:pPr>
            <a:r>
              <a:rPr kumimoji="0" lang="ja-JP" altLang="en-US" sz="2000" b="1" i="0" dirty="0">
                <a:solidFill>
                  <a:srgbClr val="000000"/>
                </a:solidFill>
                <a:latin typeface="HGP明朝E"/>
                <a:ea typeface="HGP明朝E"/>
                <a:cs typeface="Arial" charset="0"/>
              </a:rPr>
              <a:t>　　③　ゴルフ施設事業</a:t>
            </a:r>
            <a:endParaRPr kumimoji="0" lang="en-US" altLang="ja-JP" sz="2000" b="1" i="0" dirty="0">
              <a:solidFill>
                <a:srgbClr val="000000"/>
              </a:solidFill>
              <a:latin typeface="HGP明朝E"/>
              <a:ea typeface="HGP明朝E"/>
              <a:cs typeface="Arial" charset="0"/>
            </a:endParaRPr>
          </a:p>
          <a:p>
            <a:pPr marL="177800" indent="-177800" fontAlgn="base" hangingPunct="0">
              <a:spcAft>
                <a:spcPct val="0"/>
              </a:spcAft>
              <a:buSzPct val="100000"/>
            </a:pPr>
            <a:r>
              <a:rPr kumimoji="0" lang="ja-JP" altLang="en-US" sz="2000" b="1" dirty="0">
                <a:solidFill>
                  <a:srgbClr val="000000"/>
                </a:solidFill>
                <a:latin typeface="HGP明朝E"/>
                <a:ea typeface="HGP明朝E"/>
                <a:cs typeface="Arial" charset="0"/>
              </a:rPr>
              <a:t>　　④　ﾄﾘｯﾌﾟｴﾝﾄﾞ用商業集合施設事業</a:t>
            </a:r>
            <a:endParaRPr kumimoji="0" lang="en-US" altLang="ja-JP" sz="2000" b="1" dirty="0">
              <a:solidFill>
                <a:srgbClr val="000000"/>
              </a:solidFill>
              <a:latin typeface="HGP明朝E"/>
              <a:ea typeface="HGP明朝E"/>
              <a:cs typeface="Arial" charset="0"/>
            </a:endParaRPr>
          </a:p>
          <a:p>
            <a:pPr marL="177800" indent="-177800" fontAlgn="base" hangingPunct="0">
              <a:spcAft>
                <a:spcPct val="0"/>
              </a:spcAft>
              <a:buSzPct val="100000"/>
            </a:pPr>
            <a:r>
              <a:rPr kumimoji="0" lang="ja-JP" altLang="en-US" sz="2000" b="1" dirty="0">
                <a:solidFill>
                  <a:srgbClr val="000000"/>
                </a:solidFill>
                <a:latin typeface="HGP明朝E"/>
                <a:ea typeface="HGP明朝E"/>
                <a:cs typeface="Arial" charset="0"/>
              </a:rPr>
              <a:t>　　　　（飲食、お土産）</a:t>
            </a:r>
            <a:r>
              <a:rPr kumimoji="0" lang="ja-JP" altLang="en-US" sz="1400" b="1" dirty="0">
                <a:solidFill>
                  <a:srgbClr val="000000"/>
                </a:solidFill>
                <a:latin typeface="HGP明朝E"/>
                <a:ea typeface="HGP明朝E"/>
                <a:cs typeface="Arial" charset="0"/>
              </a:rPr>
              <a:t>（スモールスタート要検討）</a:t>
            </a:r>
            <a:endParaRPr kumimoji="0" lang="en-US" altLang="ja-JP" sz="1400" b="1" dirty="0">
              <a:solidFill>
                <a:srgbClr val="000000"/>
              </a:solidFill>
              <a:latin typeface="HGP明朝E"/>
              <a:ea typeface="HGP明朝E"/>
              <a:cs typeface="Arial" charset="0"/>
            </a:endParaRPr>
          </a:p>
          <a:p>
            <a:pPr marL="177800" indent="-177800" fontAlgn="base" hangingPunct="0">
              <a:spcAft>
                <a:spcPct val="0"/>
              </a:spcAft>
              <a:buSzPct val="100000"/>
            </a:pPr>
            <a:r>
              <a:rPr kumimoji="0" lang="ja-JP" altLang="en-US" sz="2000" b="1" dirty="0">
                <a:solidFill>
                  <a:srgbClr val="000000"/>
                </a:solidFill>
                <a:latin typeface="HGP明朝E"/>
                <a:ea typeface="HGP明朝E"/>
                <a:cs typeface="Arial" charset="0"/>
              </a:rPr>
              <a:t>　　⑤　研究事業（施設設置） </a:t>
            </a:r>
            <a:endParaRPr kumimoji="0" lang="en-US" altLang="ja-JP" sz="2000" b="1" dirty="0">
              <a:solidFill>
                <a:srgbClr val="000000"/>
              </a:solidFill>
              <a:latin typeface="HGP明朝E"/>
              <a:ea typeface="HGP明朝E"/>
              <a:cs typeface="Arial" charset="0"/>
            </a:endParaRPr>
          </a:p>
          <a:p>
            <a:pPr marL="177800" indent="-177800" fontAlgn="base" hangingPunct="0">
              <a:spcAft>
                <a:spcPct val="0"/>
              </a:spcAft>
              <a:buSzPct val="100000"/>
            </a:pPr>
            <a:r>
              <a:rPr kumimoji="0" lang="ja-JP" altLang="en-US" sz="2000" b="1" dirty="0">
                <a:solidFill>
                  <a:srgbClr val="000000"/>
                </a:solidFill>
                <a:latin typeface="HGP明朝E"/>
                <a:ea typeface="HGP明朝E"/>
                <a:cs typeface="Arial" charset="0"/>
              </a:rPr>
              <a:t>　　⑥　室内・外プール施設事業</a:t>
            </a:r>
            <a:endParaRPr kumimoji="0" lang="en-US" altLang="ja-JP" sz="2000" b="1" i="0" dirty="0">
              <a:solidFill>
                <a:srgbClr val="000000"/>
              </a:solidFill>
              <a:latin typeface="HGP明朝E"/>
              <a:ea typeface="HGP明朝E"/>
              <a:cs typeface="Arial" charset="0"/>
            </a:endParaRPr>
          </a:p>
          <a:p>
            <a:pPr marL="177800" indent="-177800" fontAlgn="base" hangingPunct="0">
              <a:spcAft>
                <a:spcPct val="0"/>
              </a:spcAft>
              <a:buSzPct val="100000"/>
            </a:pPr>
            <a:endParaRPr kumimoji="0" lang="en-US" altLang="ja-JP" sz="2000" b="1" dirty="0">
              <a:solidFill>
                <a:srgbClr val="000000"/>
              </a:solidFill>
              <a:highlight>
                <a:srgbClr val="FFFF00"/>
              </a:highlight>
              <a:latin typeface="HGP明朝E"/>
              <a:ea typeface="HGP明朝E"/>
              <a:cs typeface="Arial" charset="0"/>
            </a:endParaRPr>
          </a:p>
        </p:txBody>
      </p:sp>
      <p:sp>
        <p:nvSpPr>
          <p:cNvPr id="4" name="テキスト ボックス 3">
            <a:extLst>
              <a:ext uri="{FF2B5EF4-FFF2-40B4-BE49-F238E27FC236}">
                <a16:creationId xmlns:a16="http://schemas.microsoft.com/office/drawing/2014/main" id="{50C2EFBE-59F5-4543-FDFC-872EE552B1B4}"/>
              </a:ext>
            </a:extLst>
          </p:cNvPr>
          <p:cNvSpPr txBox="1"/>
          <p:nvPr/>
        </p:nvSpPr>
        <p:spPr>
          <a:xfrm>
            <a:off x="863348" y="5966947"/>
            <a:ext cx="8263186" cy="553998"/>
          </a:xfrm>
          <a:prstGeom prst="rect">
            <a:avLst/>
          </a:prstGeom>
          <a:noFill/>
          <a:ln w="9525" algn="ctr">
            <a:noFill/>
            <a:miter lim="800000"/>
            <a:headEnd/>
            <a:tailEnd/>
          </a:ln>
          <a:effectLst/>
        </p:spPr>
        <p:txBody>
          <a:bodyPr vert="horz" wrap="square" lIns="0" tIns="0" rIns="0" bIns="0" numCol="1" rtlCol="0" anchor="t" anchorCtr="0" compatLnSpc="1">
            <a:prstTxWarp prst="textNoShape">
              <a:avLst/>
            </a:prstTxWarp>
            <a:spAutoFit/>
          </a:bodyPr>
          <a:lstStyle/>
          <a:p>
            <a:pPr marL="177800" indent="-177800" fontAlgn="base" hangingPunct="0">
              <a:spcAft>
                <a:spcPct val="0"/>
              </a:spcAft>
              <a:buSzPct val="100000"/>
            </a:pPr>
            <a:r>
              <a:rPr kumimoji="0" lang="ja-JP" altLang="en-US" b="1" u="sng" dirty="0">
                <a:solidFill>
                  <a:srgbClr val="000000"/>
                </a:solidFill>
                <a:latin typeface="HGP明朝E"/>
                <a:ea typeface="HGP明朝E"/>
                <a:cs typeface="Arial" charset="0"/>
              </a:rPr>
              <a:t>第</a:t>
            </a:r>
            <a:r>
              <a:rPr kumimoji="0" lang="en-US" altLang="ja-JP" b="1" u="sng" dirty="0">
                <a:solidFill>
                  <a:srgbClr val="000000"/>
                </a:solidFill>
                <a:latin typeface="HGP明朝E"/>
                <a:ea typeface="HGP明朝E"/>
                <a:cs typeface="Arial" charset="0"/>
              </a:rPr>
              <a:t>4</a:t>
            </a:r>
            <a:r>
              <a:rPr kumimoji="0" lang="ja-JP" altLang="en-US" b="1" u="sng" dirty="0">
                <a:solidFill>
                  <a:srgbClr val="000000"/>
                </a:solidFill>
                <a:latin typeface="HGP明朝E"/>
                <a:ea typeface="HGP明朝E"/>
                <a:cs typeface="Arial" charset="0"/>
              </a:rPr>
              <a:t>期の公募で提案いただいた各事業に対し、</a:t>
            </a:r>
            <a:endParaRPr kumimoji="0" lang="en-US" altLang="ja-JP" b="1" u="sng" dirty="0">
              <a:solidFill>
                <a:srgbClr val="000000"/>
              </a:solidFill>
              <a:latin typeface="HGP明朝E"/>
              <a:ea typeface="HGP明朝E"/>
              <a:cs typeface="Arial" charset="0"/>
            </a:endParaRPr>
          </a:p>
          <a:p>
            <a:pPr marL="177800" indent="-177800" fontAlgn="base" hangingPunct="0">
              <a:spcAft>
                <a:spcPct val="0"/>
              </a:spcAft>
              <a:buSzPct val="100000"/>
            </a:pPr>
            <a:r>
              <a:rPr kumimoji="0" lang="ja-JP" altLang="en-US" b="1" dirty="0">
                <a:solidFill>
                  <a:srgbClr val="000000"/>
                </a:solidFill>
                <a:latin typeface="HGP明朝E"/>
                <a:ea typeface="HGP明朝E"/>
                <a:cs typeface="Arial" charset="0"/>
              </a:rPr>
              <a:t>　　　　　　　　</a:t>
            </a:r>
            <a:r>
              <a:rPr kumimoji="0" lang="ja-JP" altLang="en-US" b="1" u="sng" dirty="0">
                <a:solidFill>
                  <a:srgbClr val="000000"/>
                </a:solidFill>
                <a:latin typeface="HGP明朝E"/>
                <a:ea typeface="HGP明朝E"/>
                <a:cs typeface="Arial" charset="0"/>
              </a:rPr>
              <a:t>県として可能な支援は行いたいと考えています！</a:t>
            </a:r>
            <a:endParaRPr kumimoji="0" lang="en-US" altLang="ja-JP" b="1" u="sng" dirty="0">
              <a:solidFill>
                <a:srgbClr val="000000"/>
              </a:solidFill>
              <a:latin typeface="HGP明朝E"/>
              <a:ea typeface="HGP明朝E"/>
              <a:cs typeface="Arial" charset="0"/>
            </a:endParaRPr>
          </a:p>
        </p:txBody>
      </p:sp>
    </p:spTree>
    <p:extLst>
      <p:ext uri="{BB962C8B-B14F-4D97-AF65-F5344CB8AC3E}">
        <p14:creationId xmlns:p14="http://schemas.microsoft.com/office/powerpoint/2010/main" val="12264078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82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 name="LASTSLIDEVIEWED" val="367,16,Slide11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25400">
          <a:solidFill>
            <a:srgbClr val="00B0F0"/>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a:defPPr>
      </a:lstStyle>
      <a:style>
        <a:lnRef idx="1">
          <a:schemeClr val="dk1"/>
        </a:lnRef>
        <a:fillRef idx="0">
          <a:schemeClr val="dk1"/>
        </a:fillRef>
        <a:effectRef idx="0">
          <a:schemeClr val="dk1"/>
        </a:effectRef>
        <a:fontRef idx="minor">
          <a:schemeClr val="tx1"/>
        </a:fontRef>
      </a:style>
    </a:spDef>
    <a:txDef>
      <a:spPr>
        <a:noFill/>
        <a:ln w="9525" algn="ctr">
          <a:noFill/>
          <a:miter lim="800000"/>
          <a:headEnd/>
          <a:tailEnd/>
        </a:ln>
        <a:effectLst/>
      </a:spPr>
      <a:bodyPr vert="horz" wrap="square" lIns="0" tIns="0" rIns="0" bIns="0" numCol="1" anchor="t" anchorCtr="0" compatLnSpc="1">
        <a:prstTxWarp prst="textNoShape">
          <a:avLst/>
        </a:prstTxWarp>
      </a:bodyPr>
      <a:lstStyle>
        <a:defPPr marL="177800" indent="-177800" fontAlgn="base" hangingPunct="0">
          <a:spcAft>
            <a:spcPct val="0"/>
          </a:spcAft>
          <a:buSzPct val="100000"/>
          <a:defRPr kumimoji="0" sz="1200" b="0" i="0" dirty="0" smtClean="0">
            <a:solidFill>
              <a:srgbClr val="000000"/>
            </a:solidFill>
            <a:latin typeface="HGP明朝E"/>
            <a:ea typeface="HGP明朝E"/>
            <a:cs typeface="Arial" charset="0"/>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81</TotalTime>
  <Words>910</Words>
  <Application>Microsoft Office PowerPoint</Application>
  <PresentationFormat>画面に合わせる (4:3)</PresentationFormat>
  <Paragraphs>113</Paragraphs>
  <Slides>7</Slides>
  <Notes>6</Notes>
  <HiddenSlides>0</HiddenSlides>
  <MMClips>0</MMClips>
  <ScaleCrop>false</ScaleCrop>
  <HeadingPairs>
    <vt:vector size="8" baseType="variant">
      <vt:variant>
        <vt:lpstr>使用されているフォント</vt:lpstr>
      </vt:variant>
      <vt:variant>
        <vt:i4>7</vt:i4>
      </vt:variant>
      <vt:variant>
        <vt:lpstr>テーマ</vt:lpstr>
      </vt:variant>
      <vt:variant>
        <vt:i4>1</vt:i4>
      </vt:variant>
      <vt:variant>
        <vt:lpstr>埋め込まれた OLE サーバー</vt:lpstr>
      </vt:variant>
      <vt:variant>
        <vt:i4>1</vt:i4>
      </vt:variant>
      <vt:variant>
        <vt:lpstr>スライド タイトル</vt:lpstr>
      </vt:variant>
      <vt:variant>
        <vt:i4>7</vt:i4>
      </vt:variant>
    </vt:vector>
  </HeadingPairs>
  <TitlesOfParts>
    <vt:vector size="16" baseType="lpstr">
      <vt:lpstr>HGP明朝E</vt:lpstr>
      <vt:lpstr>HGS創英角ｺﾞｼｯｸUB</vt:lpstr>
      <vt:lpstr>HG明朝E</vt:lpstr>
      <vt:lpstr>ＭＳ Ｐ明朝</vt:lpstr>
      <vt:lpstr>Arial</vt:lpstr>
      <vt:lpstr>Calibri</vt:lpstr>
      <vt:lpstr>Georgia</vt:lpstr>
      <vt:lpstr>Office ​​テーマ</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金城　寧</dc:creator>
  <cp:lastModifiedBy>0006341</cp:lastModifiedBy>
  <cp:revision>76</cp:revision>
  <cp:lastPrinted>2025-07-01T01:08:12Z</cp:lastPrinted>
  <dcterms:modified xsi:type="dcterms:W3CDTF">2025-10-08T23:10:24Z</dcterms:modified>
</cp:coreProperties>
</file>